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2"/>
  </p:notesMasterIdLst>
  <p:sldIdLst>
    <p:sldId id="256" r:id="rId2"/>
    <p:sldId id="311" r:id="rId3"/>
    <p:sldId id="257" r:id="rId4"/>
    <p:sldId id="259" r:id="rId5"/>
    <p:sldId id="284" r:id="rId6"/>
    <p:sldId id="360" r:id="rId7"/>
    <p:sldId id="285" r:id="rId8"/>
    <p:sldId id="292" r:id="rId9"/>
    <p:sldId id="293" r:id="rId10"/>
    <p:sldId id="286" r:id="rId11"/>
    <p:sldId id="287" r:id="rId12"/>
    <p:sldId id="294" r:id="rId13"/>
    <p:sldId id="258" r:id="rId14"/>
    <p:sldId id="312" r:id="rId15"/>
    <p:sldId id="276" r:id="rId16"/>
    <p:sldId id="288" r:id="rId17"/>
    <p:sldId id="290" r:id="rId18"/>
    <p:sldId id="313" r:id="rId19"/>
    <p:sldId id="295" r:id="rId20"/>
    <p:sldId id="305" r:id="rId21"/>
    <p:sldId id="314" r:id="rId22"/>
    <p:sldId id="315" r:id="rId23"/>
    <p:sldId id="262" r:id="rId24"/>
    <p:sldId id="270" r:id="rId25"/>
    <p:sldId id="261" r:id="rId26"/>
    <p:sldId id="265" r:id="rId27"/>
    <p:sldId id="342" r:id="rId28"/>
    <p:sldId id="343" r:id="rId29"/>
    <p:sldId id="316" r:id="rId30"/>
    <p:sldId id="317" r:id="rId31"/>
    <p:sldId id="318" r:id="rId32"/>
    <p:sldId id="319" r:id="rId33"/>
    <p:sldId id="278" r:id="rId34"/>
    <p:sldId id="320" r:id="rId35"/>
    <p:sldId id="349" r:id="rId36"/>
    <p:sldId id="361" r:id="rId37"/>
    <p:sldId id="299" r:id="rId38"/>
    <p:sldId id="303" r:id="rId39"/>
    <p:sldId id="304" r:id="rId40"/>
    <p:sldId id="341" r:id="rId41"/>
    <p:sldId id="274" r:id="rId42"/>
    <p:sldId id="323" r:id="rId43"/>
    <p:sldId id="324" r:id="rId44"/>
    <p:sldId id="327" r:id="rId45"/>
    <p:sldId id="344" r:id="rId46"/>
    <p:sldId id="358" r:id="rId47"/>
    <p:sldId id="328" r:id="rId48"/>
    <p:sldId id="330" r:id="rId49"/>
    <p:sldId id="331" r:id="rId50"/>
    <p:sldId id="329" r:id="rId51"/>
    <p:sldId id="332" r:id="rId52"/>
    <p:sldId id="340" r:id="rId53"/>
    <p:sldId id="346" r:id="rId54"/>
    <p:sldId id="347" r:id="rId55"/>
    <p:sldId id="350" r:id="rId56"/>
    <p:sldId id="348" r:id="rId57"/>
    <p:sldId id="351" r:id="rId58"/>
    <p:sldId id="345" r:id="rId59"/>
    <p:sldId id="321" r:id="rId60"/>
    <p:sldId id="272" r:id="rId61"/>
    <p:sldId id="352" r:id="rId62"/>
    <p:sldId id="353" r:id="rId63"/>
    <p:sldId id="301" r:id="rId64"/>
    <p:sldId id="307" r:id="rId65"/>
    <p:sldId id="354" r:id="rId66"/>
    <p:sldId id="297" r:id="rId67"/>
    <p:sldId id="275" r:id="rId68"/>
    <p:sldId id="333" r:id="rId69"/>
    <p:sldId id="355" r:id="rId70"/>
    <p:sldId id="336" r:id="rId71"/>
    <p:sldId id="335" r:id="rId72"/>
    <p:sldId id="334" r:id="rId73"/>
    <p:sldId id="302" r:id="rId74"/>
    <p:sldId id="300" r:id="rId75"/>
    <p:sldId id="306" r:id="rId76"/>
    <p:sldId id="308" r:id="rId77"/>
    <p:sldId id="309" r:id="rId78"/>
    <p:sldId id="310" r:id="rId79"/>
    <p:sldId id="338" r:id="rId80"/>
    <p:sldId id="356" r:id="rId81"/>
    <p:sldId id="357" r:id="rId82"/>
    <p:sldId id="337" r:id="rId83"/>
    <p:sldId id="359" r:id="rId84"/>
    <p:sldId id="279" r:id="rId85"/>
    <p:sldId id="362" r:id="rId86"/>
    <p:sldId id="363" r:id="rId87"/>
    <p:sldId id="280" r:id="rId88"/>
    <p:sldId id="282" r:id="rId89"/>
    <p:sldId id="298" r:id="rId90"/>
    <p:sldId id="283" r:id="rId9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33"/>
    <a:srgbClr val="B3B3B3"/>
    <a:srgbClr val="B31B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369" autoAdjust="0"/>
    <p:restoredTop sz="94660"/>
  </p:normalViewPr>
  <p:slideViewPr>
    <p:cSldViewPr snapToGrid="0">
      <p:cViewPr varScale="1">
        <p:scale>
          <a:sx n="95" d="100"/>
          <a:sy n="95" d="100"/>
        </p:scale>
        <p:origin x="39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theme" Target="theme/theme1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A8C565-F3BF-4A84-AE07-9A89EABD0C05}" type="datetimeFigureOut">
              <a:rPr lang="en-US" smtClean="0"/>
              <a:t>08-Feb-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C334D6-74E3-493C-842C-2A0D832D06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049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… though the emphasis was often still for special tabula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42975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 worry about IAB RDC: lower threshold for rooms, but insubstantial (very similar to FSRDC). Remove the IAB employee (note also similarity to </a:t>
            </a:r>
            <a:r>
              <a:rPr lang="en-US" dirty="0" err="1"/>
              <a:t>StatCan</a:t>
            </a:r>
            <a:r>
              <a:rPr lang="en-US" dirty="0"/>
              <a:t> internal computers)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9863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ynthetic data is NOT a</a:t>
            </a:r>
            <a:r>
              <a:rPr lang="en-US" baseline="0" dirty="0"/>
              <a:t> remote submission system, but it is a access mechanis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7233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tinct break in the</a:t>
            </a:r>
            <a:r>
              <a:rPr lang="en-US" baseline="0" dirty="0"/>
              <a:t> distribution of couples around 50% earnings ratio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445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 let’s go back to the access rules</a:t>
            </a:r>
            <a:r>
              <a:rPr lang="en-US" baseline="0" dirty="0"/>
              <a:t> and disclosure avoidance mechanisms of the various system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1400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can the broad</a:t>
            </a:r>
            <a:r>
              <a:rPr lang="en-US" baseline="0" dirty="0"/>
              <a:t> network of CASD terminals (spread out across 300+ locations), the quasi-employee type of access in the Danish system be maintained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89520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dirty="0">
                <a:solidFill>
                  <a:srgbClr val="FF0000"/>
                </a:solidFill>
              </a:rPr>
              <a:t>France – with the broadest network – has lower</a:t>
            </a:r>
            <a:r>
              <a:rPr lang="en-US" sz="1200" b="0" baseline="0" dirty="0">
                <a:solidFill>
                  <a:srgbClr val="FF0000"/>
                </a:solidFill>
              </a:rPr>
              <a:t> penalties (but still prison)</a:t>
            </a:r>
            <a:endParaRPr lang="en-US" sz="1200" b="0" dirty="0">
              <a:solidFill>
                <a:srgbClr val="FF0000"/>
              </a:solidFill>
            </a:endParaRPr>
          </a:p>
          <a:p>
            <a:r>
              <a:rPr lang="en-US" sz="1200" b="0" dirty="0">
                <a:solidFill>
                  <a:srgbClr val="FF0000"/>
                </a:solidFill>
              </a:rPr>
              <a:t>Germany (</a:t>
            </a:r>
            <a:r>
              <a:rPr lang="en-US" sz="1200" b="1" dirty="0">
                <a:solidFill>
                  <a:srgbClr val="FF0000"/>
                </a:solidFill>
              </a:rPr>
              <a:t>€60,000 ~ $67000 but increasing…) </a:t>
            </a:r>
            <a:r>
              <a:rPr lang="en-US" sz="1200" b="0" dirty="0">
                <a:solidFill>
                  <a:srgbClr val="FF0000"/>
                </a:solidFill>
              </a:rPr>
              <a:t>has no prison, and still relatively puny monetary penalties</a:t>
            </a:r>
            <a:r>
              <a:rPr lang="en-US" sz="1200" b="1" dirty="0">
                <a:solidFill>
                  <a:srgbClr val="FF0000"/>
                </a:solidFill>
              </a:rPr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4783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AB and Denmark</a:t>
            </a:r>
            <a:r>
              <a:rPr lang="en-US" baseline="0" dirty="0"/>
              <a:t> – binds the institution, not just the research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3002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itial + PDF means that no formal training occurs; rather, the information is transmitted through a contract or initial set of mater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8297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xelle </a:t>
            </a:r>
            <a:r>
              <a:rPr lang="en-US" dirty="0" err="1"/>
              <a:t>Lemaire</a:t>
            </a:r>
            <a:r>
              <a:rPr lang="en-US" dirty="0"/>
              <a:t> (“minister of state” equivalent to undersecretary) – FSRDC has had the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der Secretary of Commerce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or Economic Affairs  (Mark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m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77716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itial + PDF means that no formal training occurs; rather, the information is transmitted through a contract or initial set of mater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015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 technology is advancing, where</a:t>
            </a:r>
            <a:r>
              <a:rPr lang="en-US" baseline="0" dirty="0"/>
              <a:t> has it gotten us today in terms of access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0590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ile the focus is not on building new data collections, the ability to protect existing data obviously has an impact on new data collections (see IMI,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2612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y experience has a certain Anglo-Saxon and European ti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12696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… and so they keep knocking on the do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3339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‘m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ly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ing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cus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a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ew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her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untries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monstrate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me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eatures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nt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ighlight</a:t>
            </a:r>
            <a:endParaRPr lang="de-DE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ommission zur Verbesserung der informationellen Infrastruktur zwischen Wissenschaft und Statistik, 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V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7286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990 census was a trigger, when increased demand hit stronger</a:t>
            </a:r>
            <a:r>
              <a:rPr lang="en-US" baseline="0" dirty="0"/>
              <a:t> privacy protection – demographers and sociologists</a:t>
            </a:r>
            <a:endParaRPr lang="en-US" dirty="0"/>
          </a:p>
          <a:p>
            <a:r>
              <a:rPr lang="en-US" dirty="0"/>
              <a:t>CREST was the original</a:t>
            </a:r>
            <a:r>
              <a:rPr lang="en-US" baseline="0" dirty="0"/>
              <a:t> privileged access holder to data, but a driver in making it a more public entity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4442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Q also in Netherlands (drivable), replaced with Denmark-style VDI from university locations. HQ approach also in Brazil (Rio) – Instituto </a:t>
            </a:r>
            <a:r>
              <a:rPr lang="en-US" dirty="0" err="1"/>
              <a:t>brasileiro</a:t>
            </a:r>
            <a:r>
              <a:rPr lang="en-US" dirty="0"/>
              <a:t> da </a:t>
            </a:r>
            <a:r>
              <a:rPr lang="en-US" dirty="0" err="1"/>
              <a:t>geografía</a:t>
            </a:r>
            <a:r>
              <a:rPr lang="en-US" dirty="0"/>
              <a:t> e </a:t>
            </a:r>
            <a:r>
              <a:rPr lang="en-US" dirty="0" err="1"/>
              <a:t>estatística</a:t>
            </a:r>
            <a:r>
              <a:rPr lang="en-US" dirty="0"/>
              <a:t>. Canada: enclaves of </a:t>
            </a:r>
            <a:r>
              <a:rPr lang="en-US" dirty="0" err="1"/>
              <a:t>StatCan</a:t>
            </a:r>
            <a:r>
              <a:rPr lang="en-US" dirty="0"/>
              <a:t> within universities, owned and operated by universities, on university computers, under supervision and authorization of </a:t>
            </a:r>
            <a:r>
              <a:rPr lang="en-US" dirty="0" err="1"/>
              <a:t>StatCa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8560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 worry about IAB RDC: lower threshold for rooms, but insubstantial (very similar to FSRDC). Remove the IAB employee (note also similarity to </a:t>
            </a:r>
            <a:r>
              <a:rPr lang="en-US" dirty="0" err="1"/>
              <a:t>StatCan</a:t>
            </a:r>
            <a:r>
              <a:rPr lang="en-US" dirty="0"/>
              <a:t> internal computers)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8380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08-Feb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222250"/>
          </a:xfrm>
          <a:prstGeom prst="rect">
            <a:avLst/>
          </a:prstGeom>
          <a:solidFill>
            <a:srgbClr val="B31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8" name="Picture 7" descr="cu screen b31b1b.psd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4"/>
          <a:stretch/>
        </p:blipFill>
        <p:spPr>
          <a:xfrm>
            <a:off x="242712" y="402168"/>
            <a:ext cx="1384120" cy="1267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1674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08-Feb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9507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08-Feb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8452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0" y="365125"/>
            <a:ext cx="978408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08-Feb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222250"/>
          </a:xfrm>
          <a:prstGeom prst="rect">
            <a:avLst/>
          </a:prstGeom>
          <a:solidFill>
            <a:srgbClr val="B31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8" name="Picture 7" descr="cu screen b31b1b.psd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4"/>
          <a:stretch/>
        </p:blipFill>
        <p:spPr>
          <a:xfrm>
            <a:off x="242712" y="402168"/>
            <a:ext cx="1384120" cy="1267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039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08-Feb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222250"/>
          </a:xfrm>
          <a:prstGeom prst="rect">
            <a:avLst/>
          </a:prstGeom>
          <a:solidFill>
            <a:srgbClr val="B31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8" name="Picture 7" descr="cu screen b31b1b.psd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4"/>
          <a:stretch/>
        </p:blipFill>
        <p:spPr>
          <a:xfrm>
            <a:off x="242712" y="402168"/>
            <a:ext cx="1384120" cy="1267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012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1708" y="365125"/>
            <a:ext cx="9802091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08-Feb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2192000" cy="222250"/>
          </a:xfrm>
          <a:prstGeom prst="rect">
            <a:avLst/>
          </a:prstGeom>
          <a:solidFill>
            <a:srgbClr val="B31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9" name="Picture 8" descr="cu screen b31b1b.psd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4"/>
          <a:stretch/>
        </p:blipFill>
        <p:spPr>
          <a:xfrm>
            <a:off x="242712" y="402168"/>
            <a:ext cx="1384120" cy="1267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4929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0" y="365125"/>
            <a:ext cx="978408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08-Feb-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12192000" cy="222250"/>
          </a:xfrm>
          <a:prstGeom prst="rect">
            <a:avLst/>
          </a:prstGeom>
          <a:solidFill>
            <a:srgbClr val="B31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1" name="Picture 10" descr="cu screen b31b1b.psd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4"/>
          <a:stretch/>
        </p:blipFill>
        <p:spPr>
          <a:xfrm>
            <a:off x="242712" y="402168"/>
            <a:ext cx="1384120" cy="1267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7762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08-Feb-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6075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08-Feb-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275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08-Feb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3074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08-Feb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799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98DA53-2AE6-479B-901D-5117A0B269E4}" type="datetimeFigureOut">
              <a:rPr lang="en-US" smtClean="0"/>
              <a:t>08-Feb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987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nsf.gov/awardsearch/showAward.do?AwardNumber=1131848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4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gi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jp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7.jpg"/><Relationship Id="rId4" Type="http://schemas.openxmlformats.org/officeDocument/2006/relationships/image" Target="../media/image15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jpeg"/><Relationship Id="rId4" Type="http://schemas.openxmlformats.org/officeDocument/2006/relationships/image" Target="../media/image17.jp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19.png"/><Relationship Id="rId7" Type="http://schemas.openxmlformats.org/officeDocument/2006/relationships/image" Target="../media/image2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g"/><Relationship Id="rId5" Type="http://schemas.openxmlformats.org/officeDocument/2006/relationships/image" Target="../media/image27.png"/><Relationship Id="rId4" Type="http://schemas.openxmlformats.org/officeDocument/2006/relationships/image" Target="../media/image2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atcan.gc.ca/eng/rtra/rtra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8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ensus.gov/history/pdf/kraus-natdatacenter.pdf" TargetMode="Externa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ensus.gov/history/pdf/kraus-natdatacenter.pdf" TargetMode="External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hyperlink" Target="https://casd.eu/event/2016/video-thomas-piketty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png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0.png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dx.doi.org/10.1080/00031305.1959.10482600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ab.de/188/section.aspx/Publikation/k141201301" TargetMode="External"/><Relationship Id="rId2" Type="http://schemas.openxmlformats.org/officeDocument/2006/relationships/hyperlink" Target="http://www.iab.de/389/section.aspx/Publikation/k100128n09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census.gov/history/pdf/kraus-natdatacenter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fidentiality protection and physical safeguard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071478"/>
          </a:xfrm>
        </p:spPr>
        <p:txBody>
          <a:bodyPr>
            <a:normAutofit/>
          </a:bodyPr>
          <a:lstStyle/>
          <a:p>
            <a:r>
              <a:rPr lang="en-US" dirty="0"/>
              <a:t>Lars Vilhuber</a:t>
            </a:r>
          </a:p>
          <a:p>
            <a:r>
              <a:rPr lang="en-US" dirty="0"/>
              <a:t>Cornell University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sz="1600" dirty="0"/>
              <a:t>Funding acknowledged under NSF-</a:t>
            </a:r>
            <a:r>
              <a:rPr lang="en-US" sz="1600" dirty="0">
                <a:hlinkClick r:id="rId2"/>
              </a:rPr>
              <a:t>#1131848 (NCRN)</a:t>
            </a:r>
            <a:r>
              <a:rPr lang="en-US" sz="1600" dirty="0"/>
              <a:t> and a grant from the Alfred P. Sloan Foundation </a:t>
            </a:r>
          </a:p>
        </p:txBody>
      </p:sp>
    </p:spTree>
    <p:extLst>
      <p:ext uri="{BB962C8B-B14F-4D97-AF65-F5344CB8AC3E}">
        <p14:creationId xmlns:p14="http://schemas.microsoft.com/office/powerpoint/2010/main" val="14438576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iven by advances in technology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40327" y="4946073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902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521527" y="4946073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942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188527" y="4946073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960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667737" y="4946073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985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923257" y="4946073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day</a:t>
            </a:r>
          </a:p>
        </p:txBody>
      </p:sp>
      <p:cxnSp>
        <p:nvCxnSpPr>
          <p:cNvPr id="9" name="Straight Connector 8"/>
          <p:cNvCxnSpPr>
            <a:cxnSpLocks/>
            <a:endCxn id="5" idx="2"/>
          </p:cNvCxnSpPr>
          <p:nvPr/>
        </p:nvCxnSpPr>
        <p:spPr>
          <a:xfrm flipV="1">
            <a:off x="540327" y="5315405"/>
            <a:ext cx="2635828" cy="17374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cxnSpLocks/>
          </p:cNvCxnSpPr>
          <p:nvPr/>
        </p:nvCxnSpPr>
        <p:spPr>
          <a:xfrm>
            <a:off x="2521527" y="5315405"/>
            <a:ext cx="3321627" cy="17374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  <a:endCxn id="7" idx="2"/>
          </p:cNvCxnSpPr>
          <p:nvPr/>
        </p:nvCxnSpPr>
        <p:spPr>
          <a:xfrm flipV="1">
            <a:off x="5000737" y="5315405"/>
            <a:ext cx="3321628" cy="17374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7667737" y="5324092"/>
            <a:ext cx="3564775" cy="0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cxnSpLocks/>
          </p:cNvCxnSpPr>
          <p:nvPr/>
        </p:nvCxnSpPr>
        <p:spPr>
          <a:xfrm>
            <a:off x="605249" y="5332779"/>
            <a:ext cx="505412" cy="0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0404" y="1288484"/>
            <a:ext cx="5905500" cy="442912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11" y="3537211"/>
            <a:ext cx="1866899" cy="140017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055" y="1288484"/>
            <a:ext cx="6433390" cy="428405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2537" y="3812369"/>
            <a:ext cx="1676400" cy="111633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8275" y="1690688"/>
            <a:ext cx="6400800" cy="353377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714" y="3776605"/>
            <a:ext cx="2318677" cy="1280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659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path" presetSubtype="0" accel="50000" decel="5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3.125E-6 3.7037E-7 L -0.38815 0.0960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414" y="47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path" presetSubtype="0" accel="50000" decel="5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45833E-6 -1.48148E-6 L -0.07643 0.13496 " pathEditMode="relative" rAng="0" ptsTypes="AA">
                                      <p:cBhvr>
                                        <p:cTn id="2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28" y="6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750"/>
                            </p:stCondLst>
                            <p:childTnLst>
                              <p:par>
                                <p:cTn id="27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path" presetSubtype="0" accel="50000" decel="5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6.25E-7 3.33333E-6 L 0.30443 0.15162 " pathEditMode="relative" rAng="0" ptsTypes="AA">
                                      <p:cBhvr>
                                        <p:cTn id="4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221" y="75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750"/>
                            </p:stCondLst>
                            <p:childTnLst>
                              <p:par>
                                <p:cTn id="43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iven by advances in technology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5910"/>
            <a:ext cx="12192000" cy="6842449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0287" y="210359"/>
            <a:ext cx="6391426" cy="6858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0230" y="2243899"/>
            <a:ext cx="2892362" cy="368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942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ers knocking on the door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3632" y="2939143"/>
            <a:ext cx="3401605" cy="1919401"/>
          </a:xfrm>
        </p:spPr>
      </p:pic>
    </p:spTree>
    <p:extLst>
      <p:ext uri="{BB962C8B-B14F-4D97-AF65-F5344CB8AC3E}">
        <p14:creationId xmlns:p14="http://schemas.microsoft.com/office/powerpoint/2010/main" val="15229456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er access and privacy concer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1960s in the US: proposal for “National Data Bank” with the goal of combining survey and administrative data to make available to researchers</a:t>
            </a:r>
          </a:p>
          <a:p>
            <a:pPr lvl="1"/>
            <a:r>
              <a:rPr lang="en-US" dirty="0"/>
              <a:t>Instead, and partially as a consequence,  privacy laws were formalized in the 1970s (“Privacy Act 1974” (Public Law 93-579, 5 U.S.C. § 552a)) specifically prohibited “matching” programs, linking data from different agencies. </a:t>
            </a:r>
          </a:p>
          <a:p>
            <a:r>
              <a:rPr lang="en-US" dirty="0"/>
              <a:t>More recently: 2016 Australian Census elicited substantial controversy </a:t>
            </a:r>
          </a:p>
          <a:p>
            <a:pPr lvl="1"/>
            <a:r>
              <a:rPr lang="en-US" dirty="0"/>
              <a:t>Identifiable data with explicit goal of enabling linkages between the census and administrative data, as well as linkages across historical censuses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37172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2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 talk toda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528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cu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041371" cy="1399713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/>
              <a:t>I will focus on access mechanisms for </a:t>
            </a:r>
            <a:r>
              <a:rPr lang="en-US" sz="4000" b="1" dirty="0"/>
              <a:t>researchers</a:t>
            </a:r>
            <a:endParaRPr lang="en-US" b="1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16888" y="3975605"/>
            <a:ext cx="4667596" cy="2128665"/>
          </a:xfrm>
          <a:solidFill>
            <a:schemeClr val="bg1"/>
          </a:solidFill>
          <a:effectLst>
            <a:outerShdw blurRad="50800" dist="1143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/>
              <a:t>I will exclude</a:t>
            </a:r>
          </a:p>
          <a:p>
            <a:pPr lvl="1"/>
            <a:r>
              <a:rPr lang="en-US" dirty="0"/>
              <a:t>Newer mechanisms to create </a:t>
            </a:r>
            <a:r>
              <a:rPr lang="en-US" u="sng" dirty="0"/>
              <a:t>tabular</a:t>
            </a:r>
            <a:r>
              <a:rPr lang="en-US" dirty="0"/>
              <a:t> data (synthetic data, differentially-private data)</a:t>
            </a:r>
          </a:p>
          <a:p>
            <a:pPr marL="0" indent="0">
              <a:buNone/>
            </a:pPr>
            <a:r>
              <a:rPr lang="en-US" dirty="0"/>
              <a:t>I will include</a:t>
            </a:r>
          </a:p>
          <a:p>
            <a:pPr lvl="1"/>
            <a:r>
              <a:rPr lang="en-US" dirty="0"/>
              <a:t>Use of analytically-valid synthetic data as a access mechanism</a:t>
            </a:r>
          </a:p>
          <a:p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193897" y="786240"/>
            <a:ext cx="4872404" cy="2859941"/>
            <a:chOff x="4693627" y="799306"/>
            <a:chExt cx="4872404" cy="2859941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93627" y="799306"/>
              <a:ext cx="4872404" cy="2742118"/>
            </a:xfrm>
            <a:prstGeom prst="rect">
              <a:avLst/>
            </a:prstGeom>
            <a:effectLst>
              <a:softEdge rad="101600"/>
            </a:effectLst>
          </p:spPr>
        </p:pic>
        <p:sp>
          <p:nvSpPr>
            <p:cNvPr id="6" name="TextBox 5"/>
            <p:cNvSpPr txBox="1"/>
            <p:nvPr/>
          </p:nvSpPr>
          <p:spPr>
            <a:xfrm>
              <a:off x="5071731" y="3289915"/>
              <a:ext cx="427428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>
                  <a:solidFill>
                    <a:schemeClr val="bg2">
                      <a:lumMod val="75000"/>
                    </a:schemeClr>
                  </a:solidFill>
                </a:rPr>
                <a:t>Source:  (Fox News/REUTERS/</a:t>
              </a:r>
              <a:r>
                <a:rPr lang="en-US" sz="600" dirty="0" err="1">
                  <a:solidFill>
                    <a:schemeClr val="bg2">
                      <a:lumMod val="75000"/>
                    </a:schemeClr>
                  </a:solidFill>
                </a:rPr>
                <a:t>Kacper</a:t>
              </a:r>
              <a:r>
                <a:rPr lang="en-US" sz="600" dirty="0">
                  <a:solidFill>
                    <a:schemeClr val="bg2">
                      <a:lumMod val="75000"/>
                    </a:schemeClr>
                  </a:solidFill>
                </a:rPr>
                <a:t> </a:t>
              </a:r>
              <a:r>
                <a:rPr lang="en-US" sz="600" dirty="0" err="1">
                  <a:solidFill>
                    <a:schemeClr val="bg2">
                      <a:lumMod val="75000"/>
                    </a:schemeClr>
                  </a:solidFill>
                </a:rPr>
                <a:t>Pempel</a:t>
              </a:r>
              <a:r>
                <a:rPr lang="en-US" sz="600" dirty="0">
                  <a:solidFill>
                    <a:schemeClr val="bg2">
                      <a:lumMod val="75000"/>
                    </a:schemeClr>
                  </a:solidFill>
                </a:rPr>
                <a:t>/Files/https://goo.gl/ZHMkog)</a:t>
              </a:r>
              <a:r>
                <a:rPr lang="en-US" dirty="0"/>
                <a:t> </a:t>
              </a:r>
            </a:p>
          </p:txBody>
        </p:sp>
      </p:grp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402" y="3528358"/>
            <a:ext cx="3818006" cy="3139063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17644185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uiExpand="1" build="p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my talk toda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cus on researcher access to authorized data collections</a:t>
            </a:r>
          </a:p>
          <a:p>
            <a:pPr lvl="1"/>
            <a:r>
              <a:rPr lang="en-US" dirty="0"/>
              <a:t>Not building new data collections, or enacting new laws</a:t>
            </a:r>
          </a:p>
          <a:p>
            <a:r>
              <a:rPr lang="en-US" dirty="0"/>
              <a:t>Focus on the mechanisms for providing access</a:t>
            </a:r>
          </a:p>
          <a:p>
            <a:pPr lvl="1"/>
            <a:r>
              <a:rPr lang="en-US" dirty="0"/>
              <a:t>Mostly </a:t>
            </a:r>
            <a:r>
              <a:rPr lang="en-US" b="1" i="1" dirty="0"/>
              <a:t>physical</a:t>
            </a:r>
          </a:p>
          <a:p>
            <a:pPr lvl="1"/>
            <a:r>
              <a:rPr lang="en-US" dirty="0"/>
              <a:t>Access to </a:t>
            </a:r>
            <a:r>
              <a:rPr lang="en-US" b="1" i="1" dirty="0"/>
              <a:t>microdata</a:t>
            </a:r>
          </a:p>
          <a:p>
            <a:r>
              <a:rPr lang="en-US" dirty="0"/>
              <a:t>Highlight the roles of “community”</a:t>
            </a:r>
          </a:p>
          <a:p>
            <a:pPr lvl="1"/>
            <a:r>
              <a:rPr lang="en-US" dirty="0"/>
              <a:t>Training</a:t>
            </a:r>
          </a:p>
          <a:p>
            <a:pPr lvl="1"/>
            <a:r>
              <a:rPr lang="en-US" dirty="0"/>
              <a:t>Legal framework	</a:t>
            </a:r>
          </a:p>
          <a:p>
            <a:pPr lvl="1"/>
            <a:r>
              <a:rPr lang="en-US" dirty="0"/>
              <a:t>Role of institutions</a:t>
            </a:r>
          </a:p>
        </p:txBody>
      </p:sp>
    </p:spTree>
    <p:extLst>
      <p:ext uri="{BB962C8B-B14F-4D97-AF65-F5344CB8AC3E}">
        <p14:creationId xmlns:p14="http://schemas.microsoft.com/office/powerpoint/2010/main" val="21583947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geographic limitation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097361" y="1870869"/>
            <a:ext cx="7500937" cy="4260849"/>
            <a:chOff x="2201864" y="1196976"/>
            <a:chExt cx="7500937" cy="4260849"/>
          </a:xfrm>
        </p:grpSpPr>
        <p:sp>
          <p:nvSpPr>
            <p:cNvPr id="7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043364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01864" y="1495425"/>
              <a:ext cx="784225" cy="446088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62239" y="2111375"/>
              <a:ext cx="1381125" cy="769938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495676" y="3662363"/>
              <a:ext cx="339725" cy="590550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795714" y="4225925"/>
              <a:ext cx="261937" cy="1130300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700464" y="3508376"/>
              <a:ext cx="966787" cy="120332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813425" y="2454276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311775" y="2328864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392738" y="1814514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751513" y="2117725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243763" y="1966914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935663" y="1508125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672138" y="1925639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697539" y="2182814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715000" y="2351088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22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034339" y="3411539"/>
              <a:ext cx="473075" cy="212725"/>
              <a:chOff x="4488" y="2394"/>
              <a:chExt cx="358" cy="124"/>
            </a:xfrm>
          </p:grpSpPr>
          <p:sp>
            <p:nvSpPr>
              <p:cNvPr id="552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3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3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056313" y="1287464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319714" y="2274888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951788" y="3013076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2522539" y="2322514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525714" y="2319338"/>
              <a:ext cx="3175" cy="55562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501901" y="2373313"/>
              <a:ext cx="23813" cy="57150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827463" y="2368550"/>
              <a:ext cx="49212" cy="57150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65901" y="1925639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796089" y="2228850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603876" y="3232151"/>
              <a:ext cx="296863" cy="288925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446838" y="3097213"/>
              <a:ext cx="152400" cy="169862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908676" y="2101850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772275" y="2822575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891339" y="2827338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378825" y="3487738"/>
              <a:ext cx="44450" cy="57150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39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4230689" y="5295901"/>
              <a:ext cx="65087" cy="55563"/>
              <a:chOff x="1654" y="3671"/>
              <a:chExt cx="49" cy="17"/>
            </a:xfrm>
          </p:grpSpPr>
          <p:sp>
            <p:nvSpPr>
              <p:cNvPr id="550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1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0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878263" y="3090864"/>
              <a:ext cx="31750" cy="58737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933825" y="3097214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946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960814" y="3089275"/>
              <a:ext cx="7937" cy="57150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940176" y="3081339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989389" y="3109914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997325" y="3106739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997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997326" y="3127375"/>
              <a:ext cx="11113" cy="58738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003676" y="3155951"/>
              <a:ext cx="17463" cy="55563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010026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019551" y="3228975"/>
              <a:ext cx="3175" cy="57150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041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003676" y="3271839"/>
              <a:ext cx="15875" cy="58737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989388" y="3336925"/>
              <a:ext cx="23812" cy="57150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08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490914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57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616326" y="2817813"/>
              <a:ext cx="131763" cy="195262"/>
              <a:chOff x="1199" y="2121"/>
              <a:chExt cx="97" cy="123"/>
            </a:xfrm>
          </p:grpSpPr>
          <p:sp>
            <p:nvSpPr>
              <p:cNvPr id="540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1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2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3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4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5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6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7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8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9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8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9429750" y="4244975"/>
              <a:ext cx="12700" cy="57150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9439276" y="4335464"/>
              <a:ext cx="9525" cy="58737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9553575" y="4244976"/>
              <a:ext cx="77788" cy="130175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9553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2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9244014" y="4738688"/>
              <a:ext cx="458787" cy="404812"/>
              <a:chOff x="5372" y="3323"/>
              <a:chExt cx="341" cy="253"/>
            </a:xfrm>
          </p:grpSpPr>
          <p:sp>
            <p:nvSpPr>
              <p:cNvPr id="537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8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9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3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886826" y="3395663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613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9636126" y="4306889"/>
              <a:ext cx="17463" cy="58737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950325" y="3384551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9009063" y="3328988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9121776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9274175" y="3916364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9337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9194800" y="3706813"/>
              <a:ext cx="25400" cy="55562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9137651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9337675" y="4013200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9293226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9326564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9347200" y="3994150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9301164" y="3987800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9294813" y="3968751"/>
              <a:ext cx="6350" cy="60325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9375775" y="3695700"/>
              <a:ext cx="1588" cy="57150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0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9250363" y="3367088"/>
              <a:ext cx="163512" cy="114300"/>
              <a:chOff x="5379" y="2466"/>
              <a:chExt cx="122" cy="71"/>
            </a:xfrm>
          </p:grpSpPr>
          <p:sp>
            <p:nvSpPr>
              <p:cNvPr id="528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9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0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1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2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3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4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5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6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1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834313" y="3228975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733926" y="5368925"/>
              <a:ext cx="53975" cy="58738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035801" y="5207001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190039" y="1978025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366251" y="2011363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815388" y="2241550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629650" y="2803525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8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647114" y="2738438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535989" y="2587626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387976" y="1714500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1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373689" y="1482725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854825" y="3260726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3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557963" y="3122614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94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7329489" y="3309938"/>
              <a:ext cx="46037" cy="374650"/>
              <a:chOff x="3950" y="2430"/>
              <a:chExt cx="36" cy="234"/>
            </a:xfrm>
          </p:grpSpPr>
          <p:sp>
            <p:nvSpPr>
              <p:cNvPr id="497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8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9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0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01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2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3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4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5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6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7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8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9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0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1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2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3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4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5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16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7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8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9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0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1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2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3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4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5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6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7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95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9394825" y="3810001"/>
              <a:ext cx="185738" cy="214313"/>
              <a:chOff x="5486" y="2743"/>
              <a:chExt cx="137" cy="132"/>
            </a:xfrm>
          </p:grpSpPr>
          <p:sp>
            <p:nvSpPr>
              <p:cNvPr id="488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9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0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1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2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3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4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5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6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96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40401" y="3548063"/>
              <a:ext cx="11113" cy="55562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7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664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462838" y="2014539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789363" y="3981451"/>
              <a:ext cx="328612" cy="415925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0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003676" y="3411538"/>
              <a:ext cx="119063" cy="215900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01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3717925" y="3246439"/>
              <a:ext cx="323850" cy="401637"/>
              <a:chOff x="1486" y="2412"/>
              <a:chExt cx="244" cy="256"/>
            </a:xfrm>
          </p:grpSpPr>
          <p:sp>
            <p:nvSpPr>
              <p:cNvPr id="484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5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6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7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02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739188" y="4786313"/>
              <a:ext cx="31750" cy="11112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855075" y="4919663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8945564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945564" y="4918076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6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244014" y="4387851"/>
              <a:ext cx="22225" cy="28575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7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9250364" y="4314825"/>
              <a:ext cx="26987" cy="39688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8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9226551" y="4291013"/>
              <a:ext cx="17463" cy="30162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9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9145588" y="4168776"/>
              <a:ext cx="68262" cy="138113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0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9139238" y="4135439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1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139238" y="4119564"/>
              <a:ext cx="6350" cy="1587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2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9145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3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9099550" y="4040189"/>
              <a:ext cx="46038" cy="6667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4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9113839" y="3983038"/>
              <a:ext cx="1587" cy="50800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9120189" y="3976688"/>
              <a:ext cx="7937" cy="36512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9136064" y="3957639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7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9136064" y="3976689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8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120189" y="3960814"/>
              <a:ext cx="1587" cy="1587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9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840789" y="4949826"/>
              <a:ext cx="96837" cy="87313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0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978901" y="4168776"/>
              <a:ext cx="3175" cy="17463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1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912226" y="4090989"/>
              <a:ext cx="15875" cy="1587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2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928101" y="4003676"/>
              <a:ext cx="3175" cy="9525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3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767763" y="4006851"/>
              <a:ext cx="36512" cy="22225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4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9012239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248651" y="3976688"/>
              <a:ext cx="1019175" cy="908050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6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735264" y="2643189"/>
              <a:ext cx="668337" cy="581025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7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010025" y="4283076"/>
              <a:ext cx="211138" cy="265113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8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179889" y="3487739"/>
              <a:ext cx="73025" cy="109537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9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694113" y="3046414"/>
              <a:ext cx="69850" cy="58737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0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1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025901" y="5380039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4025901" y="5359401"/>
              <a:ext cx="22225" cy="60325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995738" y="5353051"/>
              <a:ext cx="25400" cy="60325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970339" y="5343525"/>
              <a:ext cx="28575" cy="58738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5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946525" y="5330825"/>
              <a:ext cx="33338" cy="57150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6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940176" y="5311775"/>
              <a:ext cx="30163" cy="57150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7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840163" y="5002214"/>
              <a:ext cx="25400" cy="60325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8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870326" y="5097464"/>
              <a:ext cx="17463" cy="53975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9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875089" y="5119689"/>
              <a:ext cx="7937" cy="58737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0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889376" y="5181601"/>
              <a:ext cx="17463" cy="60325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1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876675" y="5194300"/>
              <a:ext cx="26988" cy="58738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2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906838" y="5227639"/>
              <a:ext cx="11112" cy="58737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3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903664" y="5260976"/>
              <a:ext cx="20637" cy="55563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4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927476" y="5275263"/>
              <a:ext cx="17463" cy="57150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5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929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003676" y="5373688"/>
              <a:ext cx="34925" cy="57150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7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041776" y="5314951"/>
              <a:ext cx="123825" cy="100013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8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594100" y="3081339"/>
              <a:ext cx="52388" cy="58737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9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451226" y="2943225"/>
              <a:ext cx="250825" cy="109538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0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756025" y="3046413"/>
              <a:ext cx="88900" cy="69850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1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324225" y="3106739"/>
              <a:ext cx="33338" cy="84137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2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244851" y="3106738"/>
              <a:ext cx="93663" cy="146050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3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292475" y="3217863"/>
              <a:ext cx="71438" cy="57150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4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324226" y="3179763"/>
              <a:ext cx="142875" cy="87312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5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341688" y="3209925"/>
              <a:ext cx="125412" cy="122238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6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392489" y="3322638"/>
              <a:ext cx="84137" cy="100012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473451" y="3376614"/>
              <a:ext cx="142875" cy="79375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154488" y="4630739"/>
              <a:ext cx="133350" cy="155575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9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700714" y="1247776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0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627688" y="1477963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1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967413" y="2319339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2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675314" y="2159000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3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613400" y="1978026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4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594350" y="2041525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5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354764" y="2595563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6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303963" y="2647951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7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305425" y="1901826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8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118100" y="2813051"/>
              <a:ext cx="306388" cy="390525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9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233989" y="2873376"/>
              <a:ext cx="414337" cy="468313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0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332413" y="2479675"/>
              <a:ext cx="493712" cy="579438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1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768976" y="2614613"/>
              <a:ext cx="384175" cy="436562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2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5721351" y="2479675"/>
              <a:ext cx="93663" cy="236538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3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5103814" y="2790825"/>
              <a:ext cx="231775" cy="215900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072063" y="1598613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864225" y="1862138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6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751513" y="1525589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7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889625" y="1839913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8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334001" y="2001838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9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286500" y="2530475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0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894389" y="3322639"/>
              <a:ext cx="325437" cy="244475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1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830888" y="3490913"/>
              <a:ext cx="500062" cy="552450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2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767388" y="3590926"/>
              <a:ext cx="55562" cy="55563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3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749925" y="3590926"/>
              <a:ext cx="152400" cy="201613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4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283325" y="3995738"/>
              <a:ext cx="260350" cy="520700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5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018214" y="4235450"/>
              <a:ext cx="238125" cy="287338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6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591300" y="4037014"/>
              <a:ext cx="196850" cy="434975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7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267451" y="3735389"/>
              <a:ext cx="36513" cy="66675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8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256338" y="3695701"/>
              <a:ext cx="55562" cy="60325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9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565900" y="2395539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0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589713" y="3052763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1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784975" y="2827338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2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6472238" y="2479676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3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972300" y="2439988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4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004051" y="2489201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5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794626" y="2757489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6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118101" y="3267075"/>
              <a:ext cx="80963" cy="58738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7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202238" y="3349626"/>
              <a:ext cx="74612" cy="100013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8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245101" y="3400426"/>
              <a:ext cx="104775" cy="131763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9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459414" y="3319463"/>
              <a:ext cx="104775" cy="201612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0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111751" y="3235325"/>
              <a:ext cx="87313" cy="58738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1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537201" y="3313114"/>
              <a:ext cx="42863" cy="155575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2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562600" y="3275013"/>
              <a:ext cx="76200" cy="188912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3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291263" y="4479926"/>
              <a:ext cx="25400" cy="60325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4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5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404225" y="2290763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6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475539" y="2705101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7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691439" y="2760664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8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681913" y="2832100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9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999413" y="2947989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0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081963" y="3198814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483601" y="2435226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2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9051926" y="3732213"/>
              <a:ext cx="231775" cy="254000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3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244013" y="3716339"/>
              <a:ext cx="106362" cy="128587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4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519988" y="3349626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15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8459788" y="3060700"/>
              <a:ext cx="233362" cy="439738"/>
              <a:chOff x="5062" y="2295"/>
              <a:chExt cx="177" cy="279"/>
            </a:xfrm>
          </p:grpSpPr>
          <p:sp>
            <p:nvSpPr>
              <p:cNvPr id="460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1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2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3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4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5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6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7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8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9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0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1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2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3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4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5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6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7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8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9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0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1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2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3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16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804275" y="3879851"/>
              <a:ext cx="14288" cy="55563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7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880476" y="3819525"/>
              <a:ext cx="22225" cy="58738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8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928101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9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912225" y="3668713"/>
              <a:ext cx="25400" cy="57150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0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8737600" y="3565525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1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8664576" y="3700464"/>
              <a:ext cx="30163" cy="58737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2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8672513" y="3886201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3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8785226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4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8645525" y="3700464"/>
              <a:ext cx="19050" cy="58737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5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8689976" y="3748088"/>
              <a:ext cx="30163" cy="57150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6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8491539" y="3951289"/>
              <a:ext cx="46037" cy="58737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7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8589964" y="3989389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8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8423276" y="3921126"/>
              <a:ext cx="36513" cy="55563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9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8467725" y="3906838"/>
              <a:ext cx="39688" cy="55562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0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8520113" y="3916364"/>
              <a:ext cx="36512" cy="58737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1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8572500" y="3921126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2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645525" y="3913188"/>
              <a:ext cx="1588" cy="55562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3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220075" y="3727450"/>
              <a:ext cx="20638" cy="58738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4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166101" y="3700464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5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001000" y="3684588"/>
              <a:ext cx="7938" cy="57150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6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8026401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7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023225" y="3721100"/>
              <a:ext cx="7938" cy="57150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8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924801" y="3565525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9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453438" y="3929063"/>
              <a:ext cx="11112" cy="57150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0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969376" y="3886201"/>
              <a:ext cx="28575" cy="55563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1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907339" y="3468688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2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248650" y="3517901"/>
              <a:ext cx="254000" cy="257175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3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604251" y="3924300"/>
              <a:ext cx="92075" cy="57150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720138" y="3590925"/>
              <a:ext cx="42862" cy="88900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732839" y="3735388"/>
              <a:ext cx="71437" cy="55562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8809039" y="3659188"/>
              <a:ext cx="85725" cy="63500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8497889" y="3597275"/>
              <a:ext cx="166687" cy="230188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162926" y="3838575"/>
              <a:ext cx="250825" cy="95250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9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843963" y="3695701"/>
              <a:ext cx="214312" cy="252413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0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375526" y="2527301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832476" y="1931988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2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895975" y="2136775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3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995989" y="1792289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4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008689" y="2139951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5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008439" y="3178176"/>
              <a:ext cx="14287" cy="55563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113464" y="2132014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030913" y="2014538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542089" y="2357438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9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085013" y="2371725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0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7134226" y="2300288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1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740525" y="2316163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2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949950" y="2203451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3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997576" y="2311401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4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5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565901" y="3275013"/>
              <a:ext cx="244475" cy="431800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6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573838" y="3262314"/>
              <a:ext cx="38100" cy="58737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7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372225" y="3173414"/>
              <a:ext cx="363538" cy="376237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8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3232151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9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3232150" y="3700464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0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3240088" y="3687763"/>
              <a:ext cx="4762" cy="57150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71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3232151" y="3622676"/>
              <a:ext cx="417513" cy="201613"/>
              <a:chOff x="912" y="2626"/>
              <a:chExt cx="311" cy="127"/>
            </a:xfrm>
          </p:grpSpPr>
          <p:sp>
            <p:nvSpPr>
              <p:cNvPr id="457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8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9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72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880225" y="4340225"/>
              <a:ext cx="19050" cy="58738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3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851651" y="4367213"/>
              <a:ext cx="23813" cy="57150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74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6692901" y="3859214"/>
              <a:ext cx="168275" cy="103187"/>
              <a:chOff x="3481" y="2773"/>
              <a:chExt cx="125" cy="65"/>
            </a:xfrm>
          </p:grpSpPr>
          <p:sp>
            <p:nvSpPr>
              <p:cNvPr id="446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7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8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9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0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1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2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3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4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5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6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75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821364" y="3851276"/>
              <a:ext cx="319087" cy="379413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832476" y="3824289"/>
              <a:ext cx="15875" cy="60325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934076" y="4367213"/>
              <a:ext cx="396875" cy="398462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8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79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4865688" y="3136900"/>
              <a:ext cx="80962" cy="82550"/>
              <a:chOff x="2352" y="2343"/>
              <a:chExt cx="65" cy="53"/>
            </a:xfrm>
          </p:grpSpPr>
          <p:sp>
            <p:nvSpPr>
              <p:cNvPr id="440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1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2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3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4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5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80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2711451" y="1196976"/>
              <a:ext cx="1897063" cy="1133475"/>
              <a:chOff x="527" y="1110"/>
              <a:chExt cx="1410" cy="709"/>
            </a:xfrm>
            <a:solidFill>
              <a:schemeClr val="accent2">
                <a:lumMod val="60000"/>
                <a:lumOff val="40000"/>
              </a:schemeClr>
            </a:solidFill>
          </p:grpSpPr>
          <p:sp>
            <p:nvSpPr>
              <p:cNvPr id="398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9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0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1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2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3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4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5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6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7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8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9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0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1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2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3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4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5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6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7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8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9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1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2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3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4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5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6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7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8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9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0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1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2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3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4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5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6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7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8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9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81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281738" y="3541713"/>
              <a:ext cx="127000" cy="158750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2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388100" y="3692525"/>
              <a:ext cx="6350" cy="57150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878514" y="2928938"/>
              <a:ext cx="249237" cy="500062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4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554664" y="2311400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285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3854451" y="4371976"/>
              <a:ext cx="384175" cy="1031875"/>
              <a:chOff x="1589" y="3126"/>
              <a:chExt cx="290" cy="657"/>
            </a:xfrm>
          </p:grpSpPr>
          <p:sp>
            <p:nvSpPr>
              <p:cNvPr id="395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6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7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86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6564314" y="2324100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030913" y="1897063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8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888038" y="2228851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9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252913" y="3665538"/>
              <a:ext cx="82550" cy="57150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0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6046788" y="2263775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1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402263" y="3190875"/>
              <a:ext cx="177800" cy="165100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2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749926" y="3259138"/>
              <a:ext cx="193675" cy="349250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3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8201026" y="3017838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4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556000" y="3281364"/>
              <a:ext cx="298450" cy="523875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5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808664" y="3549650"/>
              <a:ext cx="187325" cy="274638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6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840413" y="2192338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7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791201" y="2051050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8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754688" y="1906589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9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726113" y="1911350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0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695950" y="1857375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1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127750" y="2662239"/>
              <a:ext cx="273050" cy="307975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2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722938" y="2297113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3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362576" y="2047875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04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443663" y="2282825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5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5992814" y="2343150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6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076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7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5156201" y="3267075"/>
              <a:ext cx="187325" cy="158750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8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7200900" y="2530476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9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322888" y="3325814"/>
              <a:ext cx="158750" cy="206375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0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391275" y="3521076"/>
              <a:ext cx="192088" cy="271463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1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373813" y="2606676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2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672264" y="2709863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3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959476" y="1844676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4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370638" y="2565400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5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6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957888" y="1892300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7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664200" y="2078039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8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361113" y="3962400"/>
              <a:ext cx="69850" cy="241300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9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853114" y="2533650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0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172201" y="4154489"/>
              <a:ext cx="188913" cy="217487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1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6084889" y="3930650"/>
              <a:ext cx="293687" cy="300038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2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821364" y="4203700"/>
              <a:ext cx="350837" cy="381000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3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5100639" y="3133725"/>
              <a:ext cx="161925" cy="141288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4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273801" y="3695701"/>
              <a:ext cx="269875" cy="334963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5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8837613" y="2209800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6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8696325" y="2211388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7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8666164" y="2565400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8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8612189" y="2579689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9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8628063" y="2341564"/>
              <a:ext cx="209550" cy="2444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0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211888" y="1231901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1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354763" y="12144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2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391276" y="12223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3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924676" y="1408113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4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6834189" y="1266825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5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856414" y="1225551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6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000876" y="1341438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7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054851" y="1225551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8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115175" y="1250951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9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232650" y="1265238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0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759701" y="1390650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1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826375" y="1408113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2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856539" y="1419225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3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627938" y="1392239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4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927975" y="1333500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5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088313" y="1341438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6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048625" y="1389064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7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027989" y="1385889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8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8029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9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199313" y="1312863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0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948614" y="1384300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1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902576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2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402638" y="1917700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3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696326" y="1439864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4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832850" y="1792288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5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982076" y="1905001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6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032875" y="1920875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7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897939" y="2047875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8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909051" y="2076451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9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896351" y="2159001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0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8874125" y="2193925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1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874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2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8628063" y="1781176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3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943601" y="1920875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4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392863" y="1512889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5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427788" y="1325563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6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6219825" y="1636713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7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8524875" y="1933575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368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7315201" y="1889126"/>
              <a:ext cx="671513" cy="384175"/>
              <a:chOff x="4115" y="1551"/>
              <a:chExt cx="504" cy="244"/>
            </a:xfrm>
          </p:grpSpPr>
          <p:sp>
            <p:nvSpPr>
              <p:cNvPr id="393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4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69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372226" y="2638426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0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5846763" y="2182813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1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5586414" y="2395538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2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5178426" y="2741613"/>
              <a:ext cx="28575" cy="57150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3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5119688" y="2757489"/>
              <a:ext cx="23812" cy="60325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4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5094288" y="2751138"/>
              <a:ext cx="6350" cy="57150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5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365876" y="2479675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6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8459788" y="2860676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377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6107113" y="2328863"/>
              <a:ext cx="482600" cy="201612"/>
              <a:chOff x="3289" y="1830"/>
              <a:chExt cx="363" cy="128"/>
            </a:xfrm>
          </p:grpSpPr>
          <p:sp>
            <p:nvSpPr>
              <p:cNvPr id="388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1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2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78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4095751" y="3481389"/>
              <a:ext cx="100013" cy="122237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9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8040688" y="2917825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0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8128000" y="3603625"/>
              <a:ext cx="25400" cy="57150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1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819901" y="2862263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2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546725" y="2916238"/>
              <a:ext cx="376238" cy="385762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3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216525" y="2533650"/>
              <a:ext cx="300038" cy="260350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4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916614" y="1463676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5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6427788" y="1447801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6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6570663" y="14303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7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6607176" y="14382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770040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story agai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2852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lly brief history in the U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arting in the 1960s and 70s, increased use of public-use microdata samples and surveys</a:t>
            </a:r>
          </a:p>
          <a:p>
            <a:r>
              <a:rPr lang="en-US" dirty="0"/>
              <a:t>Researcher access at Census Bureau headquarters in the 1970s</a:t>
            </a:r>
          </a:p>
          <a:p>
            <a:r>
              <a:rPr lang="en-US" dirty="0"/>
              <a:t>1990: [Computing power: 3.5 MFLOPS for $9000]</a:t>
            </a:r>
          </a:p>
          <a:p>
            <a:r>
              <a:rPr lang="en-US" dirty="0"/>
              <a:t>First RDC at Boston in the 1994</a:t>
            </a:r>
          </a:p>
          <a:p>
            <a:r>
              <a:rPr lang="en-US" dirty="0"/>
              <a:t>A small number of RDCs in the 1990s</a:t>
            </a:r>
          </a:p>
          <a:p>
            <a:r>
              <a:rPr lang="en-US" dirty="0"/>
              <a:t>Thin clients in the 2000s</a:t>
            </a:r>
          </a:p>
          <a:p>
            <a:r>
              <a:rPr lang="en-US" dirty="0"/>
              <a:t>2016: 24 RDCs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7872" y="4830203"/>
            <a:ext cx="1784850" cy="10071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4884" y="4001294"/>
            <a:ext cx="2790825" cy="2085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7271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2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dentiality and acces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7394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countries: German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stitute for Employment Research (IAB), Germany</a:t>
            </a:r>
          </a:p>
          <a:p>
            <a:pPr lvl="1"/>
            <a:r>
              <a:rPr lang="en-US" i="1" dirty="0"/>
              <a:t>Commission to improve the informational infrastructure between the scientific community and official statistics</a:t>
            </a:r>
            <a:r>
              <a:rPr lang="en-US" dirty="0"/>
              <a:t> </a:t>
            </a:r>
          </a:p>
          <a:p>
            <a:pPr marL="457200" lvl="1" indent="0">
              <a:buNone/>
            </a:pPr>
            <a:r>
              <a:rPr lang="en-US" dirty="0"/>
              <a:t>   recommended creation of RDCs by producers of microdata (2001)</a:t>
            </a:r>
          </a:p>
          <a:p>
            <a:pPr lvl="1"/>
            <a:r>
              <a:rPr lang="en-US" dirty="0"/>
              <a:t>RDC created in 2004 for “weakly anonymous” data</a:t>
            </a:r>
          </a:p>
          <a:p>
            <a:pPr lvl="1"/>
            <a:r>
              <a:rPr lang="en-US" dirty="0"/>
              <a:t>Scientific use files (factually anonymous data) available under licensing agreements to university data enclaves</a:t>
            </a:r>
          </a:p>
          <a:p>
            <a:pPr lvl="1"/>
            <a:r>
              <a:rPr lang="en-US" dirty="0"/>
              <a:t>2011 RDC created at University of Michigan (with NSF funding)</a:t>
            </a:r>
          </a:p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667737" y="4946073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985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923257" y="4946073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oday</a:t>
            </a:r>
          </a:p>
        </p:txBody>
      </p: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7667737" y="5324092"/>
            <a:ext cx="3564775" cy="0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540327" y="4946073"/>
            <a:ext cx="7782038" cy="386706"/>
            <a:chOff x="540327" y="4946073"/>
            <a:chExt cx="7782038" cy="386706"/>
          </a:xfrm>
        </p:grpSpPr>
        <p:sp>
          <p:nvSpPr>
            <p:cNvPr id="4" name="TextBox 3"/>
            <p:cNvSpPr txBox="1"/>
            <p:nvPr/>
          </p:nvSpPr>
          <p:spPr>
            <a:xfrm>
              <a:off x="540327" y="4946073"/>
              <a:ext cx="13092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1902</a:t>
              </a: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2521527" y="4946073"/>
              <a:ext cx="13092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1942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5188527" y="4946073"/>
              <a:ext cx="13092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1960</a:t>
              </a:r>
            </a:p>
          </p:txBody>
        </p:sp>
        <p:cxnSp>
          <p:nvCxnSpPr>
            <p:cNvPr id="9" name="Straight Connector 8"/>
            <p:cNvCxnSpPr>
              <a:cxnSpLocks/>
              <a:endCxn id="5" idx="2"/>
            </p:cNvCxnSpPr>
            <p:nvPr/>
          </p:nvCxnSpPr>
          <p:spPr>
            <a:xfrm flipV="1">
              <a:off x="540327" y="5315405"/>
              <a:ext cx="2635828" cy="17374"/>
            </a:xfrm>
            <a:prstGeom prst="line">
              <a:avLst/>
            </a:prstGeom>
            <a:ln w="63500">
              <a:solidFill>
                <a:srgbClr val="B31B1B">
                  <a:alpha val="57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>
              <a:cxnSpLocks/>
            </p:cNvCxnSpPr>
            <p:nvPr/>
          </p:nvCxnSpPr>
          <p:spPr>
            <a:xfrm>
              <a:off x="2521527" y="5315405"/>
              <a:ext cx="3321627" cy="17374"/>
            </a:xfrm>
            <a:prstGeom prst="line">
              <a:avLst/>
            </a:prstGeom>
            <a:ln w="63500">
              <a:solidFill>
                <a:srgbClr val="B31B1B">
                  <a:alpha val="57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>
              <a:cxnSpLocks/>
              <a:endCxn id="7" idx="2"/>
            </p:cNvCxnSpPr>
            <p:nvPr/>
          </p:nvCxnSpPr>
          <p:spPr>
            <a:xfrm flipV="1">
              <a:off x="5000737" y="5315405"/>
              <a:ext cx="3321628" cy="17374"/>
            </a:xfrm>
            <a:prstGeom prst="line">
              <a:avLst/>
            </a:prstGeom>
            <a:ln w="63500">
              <a:solidFill>
                <a:srgbClr val="B31B1B">
                  <a:alpha val="57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>
              <a:cxnSpLocks/>
            </p:cNvCxnSpPr>
            <p:nvPr/>
          </p:nvCxnSpPr>
          <p:spPr>
            <a:xfrm>
              <a:off x="605249" y="5332779"/>
              <a:ext cx="505412" cy="0"/>
            </a:xfrm>
            <a:prstGeom prst="line">
              <a:avLst/>
            </a:prstGeom>
            <a:ln w="63500">
              <a:solidFill>
                <a:srgbClr val="B31B1B">
                  <a:alpha val="57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540327" y="5332779"/>
            <a:ext cx="7127410" cy="0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188527" y="5430276"/>
            <a:ext cx="654627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200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843154" y="5430274"/>
            <a:ext cx="654628" cy="369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2004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943849" y="5430273"/>
            <a:ext cx="654628" cy="369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2011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923257" y="5442563"/>
            <a:ext cx="13092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15 RDCs in 3 countri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839793" y="2642842"/>
            <a:ext cx="14825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(KVI)</a:t>
            </a:r>
          </a:p>
        </p:txBody>
      </p:sp>
    </p:spTree>
    <p:extLst>
      <p:ext uri="{BB962C8B-B14F-4D97-AF65-F5344CB8AC3E}">
        <p14:creationId xmlns:p14="http://schemas.microsoft.com/office/powerpoint/2010/main" val="5881894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1.85185E-6 L -0.6138 -0.00671 " pathEditMode="relative" rAng="0" ptsTypes="AA">
                                      <p:cBhvr>
                                        <p:cTn id="1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0690" y="-347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2"/>
      <p:bldP spid="7" grpId="0"/>
      <p:bldP spid="18" grpId="0"/>
      <p:bldP spid="19" grpId="0"/>
      <p:bldP spid="20" grpId="0"/>
      <p:bldP spid="21" grpId="0"/>
      <p:bldP spid="1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countries: Fr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entre </a:t>
            </a:r>
            <a:r>
              <a:rPr lang="en-US" dirty="0" err="1"/>
              <a:t>d’accès</a:t>
            </a:r>
            <a:r>
              <a:rPr lang="en-US" dirty="0"/>
              <a:t> </a:t>
            </a:r>
            <a:r>
              <a:rPr lang="en-US" dirty="0" err="1"/>
              <a:t>securisé</a:t>
            </a:r>
            <a:r>
              <a:rPr lang="en-US" dirty="0"/>
              <a:t> distant (CASD, France)</a:t>
            </a:r>
          </a:p>
          <a:p>
            <a:pPr lvl="1"/>
            <a:r>
              <a:rPr lang="en-US" dirty="0"/>
              <a:t>Note: within same agency that enabled AKM (1999)</a:t>
            </a:r>
          </a:p>
          <a:p>
            <a:pPr lvl="1"/>
            <a:r>
              <a:rPr lang="en-US" dirty="0"/>
              <a:t>INSEE recommended implementing a secure center for accessing data (2007)</a:t>
            </a:r>
          </a:p>
          <a:p>
            <a:pPr lvl="1"/>
            <a:r>
              <a:rPr lang="en-US" dirty="0"/>
              <a:t>2008 modification to Statistics Law made possible pilot </a:t>
            </a:r>
            <a:r>
              <a:rPr lang="en-US" dirty="0" err="1"/>
              <a:t>infracstructure</a:t>
            </a:r>
            <a:endParaRPr lang="en-US" dirty="0"/>
          </a:p>
          <a:p>
            <a:pPr lvl="1"/>
            <a:r>
              <a:rPr lang="en-US" dirty="0"/>
              <a:t>Pilot infrastructure becomes permanent in 2009 </a:t>
            </a:r>
          </a:p>
          <a:p>
            <a:pPr lvl="1"/>
            <a:r>
              <a:rPr lang="en-US" dirty="0"/>
              <a:t>Expansion with per-project cost (invoicing) in 2012</a:t>
            </a:r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9923257" y="4946073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oday</a:t>
            </a:r>
          </a:p>
        </p:txBody>
      </p: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7667737" y="5324092"/>
            <a:ext cx="3564775" cy="0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540327" y="5332779"/>
            <a:ext cx="7127410" cy="0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7340423" y="5421534"/>
            <a:ext cx="654627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2007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78813" y="4866006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985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667736" y="4895979"/>
            <a:ext cx="654627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2008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965609" y="5429917"/>
            <a:ext cx="654627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2009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119693" y="4896613"/>
            <a:ext cx="654627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2012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830594" y="6295433"/>
            <a:ext cx="41853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Source: presentation to the CASD Scientific Committee in 2013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25864" y="4392891"/>
            <a:ext cx="34494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Loi</a:t>
            </a:r>
            <a:r>
              <a:rPr lang="en-US" dirty="0"/>
              <a:t> </a:t>
            </a:r>
            <a:r>
              <a:rPr lang="en-US" dirty="0" err="1"/>
              <a:t>Informatique</a:t>
            </a:r>
            <a:r>
              <a:rPr lang="en-US" dirty="0"/>
              <a:t> et </a:t>
            </a:r>
            <a:r>
              <a:rPr lang="en-US" dirty="0" err="1"/>
              <a:t>Libertés</a:t>
            </a:r>
            <a:r>
              <a:rPr lang="en-US" dirty="0"/>
              <a:t> (1978)</a:t>
            </a:r>
          </a:p>
        </p:txBody>
      </p:sp>
      <p:cxnSp>
        <p:nvCxnSpPr>
          <p:cNvPr id="6" name="Straight Arrow Connector 5"/>
          <p:cNvCxnSpPr>
            <a:stCxn id="4" idx="1"/>
          </p:cNvCxnSpPr>
          <p:nvPr/>
        </p:nvCxnSpPr>
        <p:spPr>
          <a:xfrm flipH="1">
            <a:off x="188260" y="4577557"/>
            <a:ext cx="537604" cy="288449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3061070" y="4823161"/>
            <a:ext cx="654627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1995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450588" y="5467717"/>
            <a:ext cx="199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</a:t>
            </a:r>
            <a:r>
              <a:rPr lang="en-US" baseline="30000" dirty="0"/>
              <a:t>st</a:t>
            </a:r>
            <a:r>
              <a:rPr lang="en-US" dirty="0"/>
              <a:t> working group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9504" y="2376390"/>
            <a:ext cx="3047506" cy="2029500"/>
          </a:xfrm>
          <a:prstGeom prst="rect">
            <a:avLst/>
          </a:prstGeom>
          <a:effectLst>
            <a:outerShdw blurRad="50800" dist="127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TextBox 24"/>
          <p:cNvSpPr txBox="1"/>
          <p:nvPr/>
        </p:nvSpPr>
        <p:spPr>
          <a:xfrm>
            <a:off x="9923257" y="5442563"/>
            <a:ext cx="13092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371 APs in 8 countrie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577066" y="5400249"/>
            <a:ext cx="654627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1990</a:t>
            </a:r>
          </a:p>
        </p:txBody>
      </p:sp>
    </p:spTree>
    <p:extLst>
      <p:ext uri="{BB962C8B-B14F-4D97-AF65-F5344CB8AC3E}">
        <p14:creationId xmlns:p14="http://schemas.microsoft.com/office/powerpoint/2010/main" val="2720429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2"/>
      <p:bldP spid="18" grpId="0" uiExpand="1"/>
      <p:bldP spid="21" grpId="0" uiExpand="1"/>
      <p:bldP spid="22" grpId="0"/>
      <p:bldP spid="23" grpId="0"/>
      <p:bldP spid="15" grpId="0"/>
      <p:bldP spid="4" grpId="0"/>
      <p:bldP spid="17" grpId="0"/>
      <p:bldP spid="19" grpId="0"/>
      <p:bldP spid="25" grpId="0"/>
      <p:bldP spid="26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chanism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1455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/>
          <p:cNvGrpSpPr/>
          <p:nvPr/>
        </p:nvGrpSpPr>
        <p:grpSpPr>
          <a:xfrm>
            <a:off x="2882764" y="1837112"/>
            <a:ext cx="2976105" cy="525201"/>
            <a:chOff x="2325707" y="3228336"/>
            <a:chExt cx="2252092" cy="369332"/>
          </a:xfrm>
        </p:grpSpPr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325707" y="3259824"/>
              <a:ext cx="326752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748999" y="3228336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ulatio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ethods</a:t>
            </a:r>
          </a:p>
        </p:txBody>
      </p:sp>
      <p:cxnSp>
        <p:nvCxnSpPr>
          <p:cNvPr id="4" name="Straight Arrow Connector 3"/>
          <p:cNvCxnSpPr/>
          <p:nvPr/>
        </p:nvCxnSpPr>
        <p:spPr>
          <a:xfrm flipV="1">
            <a:off x="2650723" y="1521230"/>
            <a:ext cx="43782" cy="3957444"/>
          </a:xfrm>
          <a:prstGeom prst="straightConnector1">
            <a:avLst/>
          </a:prstGeom>
          <a:ln w="63500"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2650723" y="5478674"/>
            <a:ext cx="6584717" cy="1"/>
          </a:xfrm>
          <a:prstGeom prst="straightConnector1">
            <a:avLst/>
          </a:prstGeom>
          <a:ln w="63500"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5050306" y="5478672"/>
            <a:ext cx="2339230" cy="91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    Privacy loss →</a:t>
            </a:r>
          </a:p>
          <a:p>
            <a:r>
              <a:rPr lang="en-US" dirty="0"/>
              <a:t>← Loss of detail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42950" y="3237352"/>
            <a:ext cx="2139814" cy="5252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ase of access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8623447" y="2433885"/>
            <a:ext cx="2730353" cy="804010"/>
            <a:chOff x="6582284" y="3720418"/>
            <a:chExt cx="2066125" cy="565396"/>
          </a:xfrm>
        </p:grpSpPr>
        <p:sp>
          <p:nvSpPr>
            <p:cNvPr id="28" name="Rectangle 27"/>
            <p:cNvSpPr/>
            <p:nvPr/>
          </p:nvSpPr>
          <p:spPr>
            <a:xfrm>
              <a:off x="6582284" y="3720418"/>
              <a:ext cx="362968" cy="565396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945252" y="3818450"/>
              <a:ext cx="17031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Raw microdata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2836465" y="1859358"/>
            <a:ext cx="2789797" cy="525201"/>
            <a:chOff x="2279408" y="3250582"/>
            <a:chExt cx="2111108" cy="369332"/>
          </a:xfrm>
        </p:grpSpPr>
        <p:sp>
          <p:nvSpPr>
            <p:cNvPr id="38" name="Rectangle 37"/>
            <p:cNvSpPr/>
            <p:nvPr/>
          </p:nvSpPr>
          <p:spPr>
            <a:xfrm>
              <a:off x="2279408" y="3250582"/>
              <a:ext cx="326752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>
              <a:spLocks noChangeAspect="1"/>
            </p:cNvSpPr>
            <p:nvPr/>
          </p:nvSpPr>
          <p:spPr>
            <a:xfrm>
              <a:off x="2325707" y="3254111"/>
              <a:ext cx="2064809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abulations</a:t>
              </a:r>
            </a:p>
          </p:txBody>
        </p:sp>
      </p:grpSp>
      <p:sp>
        <p:nvSpPr>
          <p:cNvPr id="17" name="Oval 16"/>
          <p:cNvSpPr>
            <a:spLocks noChangeAspect="1"/>
          </p:cNvSpPr>
          <p:nvPr/>
        </p:nvSpPr>
        <p:spPr>
          <a:xfrm>
            <a:off x="3936736" y="2646734"/>
            <a:ext cx="2071869" cy="535879"/>
          </a:xfrm>
          <a:prstGeom prst="ellipse">
            <a:avLst/>
          </a:prstGeom>
          <a:solidFill>
            <a:schemeClr val="accent6">
              <a:lumMod val="75000"/>
            </a:schemeClr>
          </a:solidFill>
          <a:ln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ublic-use microdata</a:t>
            </a:r>
          </a:p>
        </p:txBody>
      </p:sp>
    </p:spTree>
    <p:extLst>
      <p:ext uri="{BB962C8B-B14F-4D97-AF65-F5344CB8AC3E}">
        <p14:creationId xmlns:p14="http://schemas.microsoft.com/office/powerpoint/2010/main" val="21008140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1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/>
          <p:cNvGrpSpPr/>
          <p:nvPr/>
        </p:nvGrpSpPr>
        <p:grpSpPr>
          <a:xfrm>
            <a:off x="2882764" y="1837112"/>
            <a:ext cx="2976105" cy="525201"/>
            <a:chOff x="2325707" y="3228336"/>
            <a:chExt cx="2252092" cy="369332"/>
          </a:xfrm>
        </p:grpSpPr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325707" y="3259824"/>
              <a:ext cx="326752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748999" y="3228336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ulatio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ethods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742950" y="1521230"/>
            <a:ext cx="8492490" cy="4876544"/>
            <a:chOff x="742950" y="2968488"/>
            <a:chExt cx="6426476" cy="3429285"/>
          </a:xfrm>
        </p:grpSpPr>
        <p:cxnSp>
          <p:nvCxnSpPr>
            <p:cNvPr id="4" name="Straight Arrow Connector 3"/>
            <p:cNvCxnSpPr/>
            <p:nvPr/>
          </p:nvCxnSpPr>
          <p:spPr>
            <a:xfrm flipV="1">
              <a:off x="2186609" y="2968488"/>
              <a:ext cx="33131" cy="2782955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2186609" y="5751443"/>
              <a:ext cx="4982817" cy="1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002432" y="5751442"/>
              <a:ext cx="177015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     Privacy loss →</a:t>
              </a:r>
            </a:p>
            <a:p>
              <a:r>
                <a:rPr lang="en-US" dirty="0"/>
                <a:t>← Loss of detail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42950" y="4175300"/>
              <a:ext cx="16192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ase of access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8623447" y="2433885"/>
            <a:ext cx="2730353" cy="804010"/>
            <a:chOff x="6582284" y="3720418"/>
            <a:chExt cx="2066125" cy="565396"/>
          </a:xfrm>
        </p:grpSpPr>
        <p:sp>
          <p:nvSpPr>
            <p:cNvPr id="28" name="Rectangle 27"/>
            <p:cNvSpPr/>
            <p:nvPr/>
          </p:nvSpPr>
          <p:spPr>
            <a:xfrm>
              <a:off x="6582284" y="3720418"/>
              <a:ext cx="362968" cy="565396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945252" y="3818450"/>
              <a:ext cx="17031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Raw microdata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2836465" y="1859358"/>
            <a:ext cx="2789797" cy="525201"/>
            <a:chOff x="2279408" y="3250582"/>
            <a:chExt cx="2111108" cy="369332"/>
          </a:xfrm>
        </p:grpSpPr>
        <p:sp>
          <p:nvSpPr>
            <p:cNvPr id="38" name="Rectangle 37"/>
            <p:cNvSpPr/>
            <p:nvPr/>
          </p:nvSpPr>
          <p:spPr>
            <a:xfrm>
              <a:off x="2279408" y="3250582"/>
              <a:ext cx="326752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>
              <a:spLocks noChangeAspect="1"/>
            </p:cNvSpPr>
            <p:nvPr/>
          </p:nvSpPr>
          <p:spPr>
            <a:xfrm>
              <a:off x="2325707" y="3254111"/>
              <a:ext cx="2064809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abulations</a:t>
              </a:r>
            </a:p>
          </p:txBody>
        </p:sp>
      </p:grpSp>
      <p:sp>
        <p:nvSpPr>
          <p:cNvPr id="25" name="Oval 24"/>
          <p:cNvSpPr>
            <a:spLocks noChangeAspect="1"/>
          </p:cNvSpPr>
          <p:nvPr/>
        </p:nvSpPr>
        <p:spPr>
          <a:xfrm>
            <a:off x="3936736" y="2646734"/>
            <a:ext cx="2071869" cy="535879"/>
          </a:xfrm>
          <a:prstGeom prst="ellipse">
            <a:avLst/>
          </a:prstGeom>
          <a:solidFill>
            <a:schemeClr val="accent6">
              <a:lumMod val="75000"/>
            </a:schemeClr>
          </a:solidFill>
          <a:ln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ublic-use microdata</a:t>
            </a:r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5237018" y="5660967"/>
            <a:ext cx="1620982" cy="8313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4916627" y="4380846"/>
            <a:ext cx="1396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ivacy   loss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4127931" y="4316088"/>
            <a:ext cx="2697251" cy="0"/>
          </a:xfrm>
          <a:prstGeom prst="straightConnector1">
            <a:avLst/>
          </a:prstGeom>
          <a:ln w="38100">
            <a:solidFill>
              <a:srgbClr val="7030A0"/>
            </a:solidFill>
            <a:prstDash val="soli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/>
          <p:cNvGrpSpPr/>
          <p:nvPr/>
        </p:nvGrpSpPr>
        <p:grpSpPr>
          <a:xfrm>
            <a:off x="3815542" y="1518410"/>
            <a:ext cx="5839240" cy="3776797"/>
            <a:chOff x="3815542" y="1518410"/>
            <a:chExt cx="5839240" cy="377679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815542" y="1521230"/>
              <a:ext cx="2404379" cy="3773977"/>
            </a:xfrm>
            <a:prstGeom prst="line">
              <a:avLst/>
            </a:prstGeom>
            <a:ln w="41275">
              <a:solidFill>
                <a:srgbClr val="7030A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4893810" y="1521230"/>
              <a:ext cx="2404379" cy="3773977"/>
            </a:xfrm>
            <a:prstGeom prst="line">
              <a:avLst/>
            </a:prstGeom>
            <a:ln w="41275">
              <a:solidFill>
                <a:srgbClr val="7030A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050571" y="1519820"/>
              <a:ext cx="2404379" cy="3773977"/>
            </a:xfrm>
            <a:prstGeom prst="line">
              <a:avLst/>
            </a:prstGeom>
            <a:ln w="41275">
              <a:solidFill>
                <a:srgbClr val="7030A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7250403" y="1518410"/>
              <a:ext cx="2404379" cy="3773977"/>
            </a:xfrm>
            <a:prstGeom prst="line">
              <a:avLst/>
            </a:prstGeom>
            <a:ln w="41275">
              <a:solidFill>
                <a:srgbClr val="7030A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29563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er methods: </a:t>
            </a:r>
            <a:r>
              <a:rPr lang="en-US" b="1" dirty="0"/>
              <a:t>Data Enclave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ustom tabulations (by staff) became too onerous</a:t>
            </a:r>
          </a:p>
          <a:p>
            <a:r>
              <a:rPr lang="en-US" dirty="0"/>
              <a:t>tabulation and analysis work offloaded onto researchers by providing them with access to protected microdata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2496" y="2990439"/>
            <a:ext cx="2591750" cy="367412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2657" y="3307719"/>
            <a:ext cx="2694959" cy="346235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066" y="4093145"/>
            <a:ext cx="3915344" cy="2083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761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7" name="Straight Connector 56"/>
          <p:cNvCxnSpPr/>
          <p:nvPr/>
        </p:nvCxnSpPr>
        <p:spPr>
          <a:xfrm>
            <a:off x="7152699" y="1507808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5978529" y="1479665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3815542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4893810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/>
          <p:cNvSpPr>
            <a:spLocks noChangeAspect="1"/>
          </p:cNvSpPr>
          <p:nvPr/>
        </p:nvSpPr>
        <p:spPr>
          <a:xfrm>
            <a:off x="3936736" y="2646734"/>
            <a:ext cx="2071869" cy="535879"/>
          </a:xfrm>
          <a:prstGeom prst="ellipse">
            <a:avLst/>
          </a:prstGeom>
          <a:solidFill>
            <a:schemeClr val="accent6">
              <a:lumMod val="75000"/>
            </a:schemeClr>
          </a:solidFill>
          <a:ln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ublic-use microdata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2882764" y="1837112"/>
            <a:ext cx="2976105" cy="525201"/>
            <a:chOff x="2325707" y="3228336"/>
            <a:chExt cx="2252092" cy="369332"/>
          </a:xfrm>
        </p:grpSpPr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325707" y="3259824"/>
              <a:ext cx="326752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748999" y="3228336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ulatio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ethods: enclaves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742950" y="1521230"/>
            <a:ext cx="8492490" cy="4603774"/>
            <a:chOff x="742950" y="2968488"/>
            <a:chExt cx="6426476" cy="3237467"/>
          </a:xfrm>
        </p:grpSpPr>
        <p:cxnSp>
          <p:nvCxnSpPr>
            <p:cNvPr id="4" name="Straight Arrow Connector 3"/>
            <p:cNvCxnSpPr/>
            <p:nvPr/>
          </p:nvCxnSpPr>
          <p:spPr>
            <a:xfrm flipV="1">
              <a:off x="2186609" y="2968488"/>
              <a:ext cx="33131" cy="2782955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2186609" y="5751443"/>
              <a:ext cx="4982817" cy="1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002432" y="5751442"/>
              <a:ext cx="1770153" cy="454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/>
            </a:p>
            <a:p>
              <a:r>
                <a:rPr lang="en-US" dirty="0"/>
                <a:t>← Loss of detail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42950" y="4175300"/>
              <a:ext cx="1619250" cy="2597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ase of use</a:t>
              </a:r>
            </a:p>
          </p:txBody>
        </p:sp>
      </p:grpSp>
      <p:sp>
        <p:nvSpPr>
          <p:cNvPr id="28" name="Rectangle 27"/>
          <p:cNvSpPr/>
          <p:nvPr/>
        </p:nvSpPr>
        <p:spPr>
          <a:xfrm>
            <a:off x="8623452" y="2433885"/>
            <a:ext cx="479657" cy="80401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9" name="Group 38"/>
          <p:cNvGrpSpPr/>
          <p:nvPr/>
        </p:nvGrpSpPr>
        <p:grpSpPr>
          <a:xfrm>
            <a:off x="2836465" y="1859358"/>
            <a:ext cx="2789797" cy="525201"/>
            <a:chOff x="2279408" y="3250582"/>
            <a:chExt cx="2111108" cy="369332"/>
          </a:xfrm>
        </p:grpSpPr>
        <p:sp>
          <p:nvSpPr>
            <p:cNvPr id="38" name="Rectangle 37"/>
            <p:cNvSpPr/>
            <p:nvPr/>
          </p:nvSpPr>
          <p:spPr>
            <a:xfrm>
              <a:off x="2279408" y="3250582"/>
              <a:ext cx="326752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>
              <a:spLocks noChangeAspect="1"/>
            </p:cNvSpPr>
            <p:nvPr/>
          </p:nvSpPr>
          <p:spPr>
            <a:xfrm>
              <a:off x="2325707" y="3254111"/>
              <a:ext cx="2064809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abulations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2882764" y="2365497"/>
            <a:ext cx="791539" cy="5309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2712980" y="1703096"/>
            <a:ext cx="7903579" cy="1692094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Freeform 54"/>
          <p:cNvSpPr/>
          <p:nvPr/>
        </p:nvSpPr>
        <p:spPr>
          <a:xfrm>
            <a:off x="7689906" y="1496290"/>
            <a:ext cx="1138844" cy="3798917"/>
          </a:xfrm>
          <a:custGeom>
            <a:avLst/>
            <a:gdLst>
              <a:gd name="connsiteX0" fmla="*/ 0 w 1138844"/>
              <a:gd name="connsiteY0" fmla="*/ 0 h 3798917"/>
              <a:gd name="connsiteX1" fmla="*/ 864524 w 1138844"/>
              <a:gd name="connsiteY1" fmla="*/ 1205346 h 3798917"/>
              <a:gd name="connsiteX2" fmla="*/ 1138844 w 1138844"/>
              <a:gd name="connsiteY2" fmla="*/ 3798917 h 3798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8844" h="3798917">
                <a:moveTo>
                  <a:pt x="0" y="0"/>
                </a:moveTo>
                <a:cubicBezTo>
                  <a:pt x="337358" y="286096"/>
                  <a:pt x="674717" y="572193"/>
                  <a:pt x="864524" y="1205346"/>
                </a:cubicBezTo>
                <a:cubicBezTo>
                  <a:pt x="1054331" y="1838499"/>
                  <a:pt x="1070957" y="3427615"/>
                  <a:pt x="1138844" y="3798917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7135029" y="3436754"/>
            <a:ext cx="1323266" cy="58845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n cli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7135029" y="4802871"/>
            <a:ext cx="1323266" cy="54562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DC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135029" y="2914049"/>
            <a:ext cx="1323266" cy="50731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desktop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135029" y="4025213"/>
            <a:ext cx="1323266" cy="77765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execution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8458295" y="4414042"/>
            <a:ext cx="3870686" cy="1845232"/>
            <a:chOff x="7087244" y="4493596"/>
            <a:chExt cx="3870686" cy="1006152"/>
          </a:xfrm>
          <a:solidFill>
            <a:schemeClr val="bg1"/>
          </a:solidFill>
        </p:grpSpPr>
        <p:sp>
          <p:nvSpPr>
            <p:cNvPr id="6" name="TextBox 5"/>
            <p:cNvSpPr txBox="1"/>
            <p:nvPr/>
          </p:nvSpPr>
          <p:spPr>
            <a:xfrm>
              <a:off x="7533086" y="4543164"/>
              <a:ext cx="3424844" cy="956584"/>
            </a:xfrm>
            <a:prstGeom prst="rect">
              <a:avLst/>
            </a:prstGeom>
            <a:grpFill/>
            <a:ln>
              <a:solidFill>
                <a:schemeClr val="accent4">
                  <a:lumMod val="75000"/>
                </a:schemeClr>
              </a:solidFill>
            </a:ln>
            <a:effectLst/>
          </p:spPr>
          <p:txBody>
            <a:bodyPr wrap="square" rtlCol="0">
              <a:spAutoFit/>
            </a:bodyPr>
            <a:lstStyle/>
            <a:p>
              <a:r>
                <a:rPr lang="en-US" dirty="0"/>
                <a:t>Submitting analysis programs by email or through website, with manual disclosure avoidance (DA)</a:t>
              </a:r>
              <a:br>
                <a:rPr lang="en-US" dirty="0"/>
              </a:br>
              <a:br>
                <a:rPr lang="en-US" dirty="0"/>
              </a:br>
              <a:r>
                <a:rPr lang="en-US" dirty="0"/>
                <a:t>(possibly combined with synthetic microdata)</a:t>
              </a:r>
            </a:p>
          </p:txBody>
        </p:sp>
        <p:cxnSp>
          <p:nvCxnSpPr>
            <p:cNvPr id="8" name="Straight Connector 7"/>
            <p:cNvCxnSpPr>
              <a:stCxn id="34" idx="3"/>
              <a:endCxn id="6" idx="1"/>
            </p:cNvCxnSpPr>
            <p:nvPr/>
          </p:nvCxnSpPr>
          <p:spPr>
            <a:xfrm>
              <a:off x="7087244" y="4493596"/>
              <a:ext cx="445842" cy="527860"/>
            </a:xfrm>
            <a:prstGeom prst="lin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/>
          <p:cNvGrpSpPr/>
          <p:nvPr/>
        </p:nvGrpSpPr>
        <p:grpSpPr>
          <a:xfrm>
            <a:off x="8458295" y="2607193"/>
            <a:ext cx="3860755" cy="923330"/>
            <a:chOff x="7114786" y="1556271"/>
            <a:chExt cx="3860755" cy="923330"/>
          </a:xfrm>
        </p:grpSpPr>
        <p:sp>
          <p:nvSpPr>
            <p:cNvPr id="43" name="TextBox 42"/>
            <p:cNvSpPr txBox="1"/>
            <p:nvPr/>
          </p:nvSpPr>
          <p:spPr>
            <a:xfrm>
              <a:off x="7550697" y="1556271"/>
              <a:ext cx="3424844" cy="92333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4">
                  <a:lumMod val="75000"/>
                </a:schemeClr>
              </a:solidFill>
            </a:ln>
            <a:effectLst/>
          </p:spPr>
          <p:txBody>
            <a:bodyPr wrap="square" rtlCol="0">
              <a:spAutoFit/>
            </a:bodyPr>
            <a:lstStyle/>
            <a:p>
              <a:r>
                <a:rPr lang="en-US" dirty="0"/>
                <a:t>Software on your own PC giving a view onto secure data environment, with manual DA</a:t>
              </a:r>
            </a:p>
          </p:txBody>
        </p:sp>
        <p:cxnSp>
          <p:nvCxnSpPr>
            <p:cNvPr id="44" name="Straight Connector 43"/>
            <p:cNvCxnSpPr>
              <a:stCxn id="32" idx="3"/>
              <a:endCxn id="43" idx="1"/>
            </p:cNvCxnSpPr>
            <p:nvPr/>
          </p:nvCxnSpPr>
          <p:spPr>
            <a:xfrm flipV="1">
              <a:off x="7114786" y="2017936"/>
              <a:ext cx="435911" cy="9884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Freeform 53"/>
          <p:cNvSpPr/>
          <p:nvPr/>
        </p:nvSpPr>
        <p:spPr>
          <a:xfrm>
            <a:off x="5943600" y="1521229"/>
            <a:ext cx="2679846" cy="3832167"/>
          </a:xfrm>
          <a:custGeom>
            <a:avLst/>
            <a:gdLst>
              <a:gd name="connsiteX0" fmla="*/ 0 w 2791340"/>
              <a:gd name="connsiteY0" fmla="*/ 0 h 3790603"/>
              <a:gd name="connsiteX1" fmla="*/ 2568633 w 2791340"/>
              <a:gd name="connsiteY1" fmla="*/ 1288472 h 3790603"/>
              <a:gd name="connsiteX2" fmla="*/ 2668385 w 2791340"/>
              <a:gd name="connsiteY2" fmla="*/ 3790603 h 3790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91340" h="3790603">
                <a:moveTo>
                  <a:pt x="0" y="0"/>
                </a:moveTo>
                <a:cubicBezTo>
                  <a:pt x="1061951" y="328352"/>
                  <a:pt x="2123902" y="656705"/>
                  <a:pt x="2568633" y="1288472"/>
                </a:cubicBezTo>
                <a:cubicBezTo>
                  <a:pt x="3013364" y="1920239"/>
                  <a:pt x="2651760" y="3610494"/>
                  <a:pt x="2668385" y="3790603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/>
          <p:cNvSpPr txBox="1"/>
          <p:nvPr/>
        </p:nvSpPr>
        <p:spPr>
          <a:xfrm>
            <a:off x="4914286" y="4378245"/>
            <a:ext cx="1396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ivacy   loss</a:t>
            </a:r>
          </a:p>
        </p:txBody>
      </p:sp>
      <p:cxnSp>
        <p:nvCxnSpPr>
          <p:cNvPr id="59" name="Straight Arrow Connector 58"/>
          <p:cNvCxnSpPr/>
          <p:nvPr/>
        </p:nvCxnSpPr>
        <p:spPr>
          <a:xfrm>
            <a:off x="4125590" y="4313487"/>
            <a:ext cx="2697251" cy="0"/>
          </a:xfrm>
          <a:prstGeom prst="straightConnector1">
            <a:avLst/>
          </a:prstGeom>
          <a:ln w="38100">
            <a:solidFill>
              <a:srgbClr val="7030A0"/>
            </a:solidFill>
            <a:prstDash val="soli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oup 63"/>
          <p:cNvGrpSpPr/>
          <p:nvPr/>
        </p:nvGrpSpPr>
        <p:grpSpPr>
          <a:xfrm>
            <a:off x="8458295" y="3540504"/>
            <a:ext cx="3865760" cy="923330"/>
            <a:chOff x="7109781" y="1556271"/>
            <a:chExt cx="3865760" cy="923330"/>
          </a:xfrm>
        </p:grpSpPr>
        <p:sp>
          <p:nvSpPr>
            <p:cNvPr id="65" name="TextBox 64"/>
            <p:cNvSpPr txBox="1"/>
            <p:nvPr/>
          </p:nvSpPr>
          <p:spPr>
            <a:xfrm>
              <a:off x="7550697" y="1556271"/>
              <a:ext cx="3424844" cy="92333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4">
                  <a:lumMod val="75000"/>
                </a:schemeClr>
              </a:solidFill>
            </a:ln>
            <a:effectLst/>
          </p:spPr>
          <p:txBody>
            <a:bodyPr wrap="square" rtlCol="0">
              <a:spAutoFit/>
            </a:bodyPr>
            <a:lstStyle/>
            <a:p>
              <a:r>
                <a:rPr lang="en-US" dirty="0"/>
                <a:t>Secondary secure PC giving a view onto secure data environment, with manual DA</a:t>
              </a:r>
            </a:p>
          </p:txBody>
        </p:sp>
        <p:cxnSp>
          <p:nvCxnSpPr>
            <p:cNvPr id="66" name="Straight Connector 65"/>
            <p:cNvCxnSpPr>
              <a:stCxn id="27" idx="3"/>
              <a:endCxn id="65" idx="1"/>
            </p:cNvCxnSpPr>
            <p:nvPr/>
          </p:nvCxnSpPr>
          <p:spPr>
            <a:xfrm>
              <a:off x="7109781" y="1746751"/>
              <a:ext cx="440916" cy="2711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26904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27" grpId="0" animBg="1"/>
      <p:bldP spid="5" grpId="0" animBg="1"/>
      <p:bldP spid="32" grpId="0" animBg="1"/>
      <p:bldP spid="34" grpId="0" animBg="1"/>
      <p:bldP spid="54" grpId="0" animBg="1"/>
      <p:bldP spid="58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 53"/>
          <p:cNvSpPr/>
          <p:nvPr/>
        </p:nvSpPr>
        <p:spPr>
          <a:xfrm>
            <a:off x="5943600" y="1521229"/>
            <a:ext cx="2679846" cy="3832167"/>
          </a:xfrm>
          <a:custGeom>
            <a:avLst/>
            <a:gdLst>
              <a:gd name="connsiteX0" fmla="*/ 0 w 2791340"/>
              <a:gd name="connsiteY0" fmla="*/ 0 h 3790603"/>
              <a:gd name="connsiteX1" fmla="*/ 2568633 w 2791340"/>
              <a:gd name="connsiteY1" fmla="*/ 1288472 h 3790603"/>
              <a:gd name="connsiteX2" fmla="*/ 2668385 w 2791340"/>
              <a:gd name="connsiteY2" fmla="*/ 3790603 h 3790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91340" h="3790603">
                <a:moveTo>
                  <a:pt x="0" y="0"/>
                </a:moveTo>
                <a:cubicBezTo>
                  <a:pt x="1061951" y="328352"/>
                  <a:pt x="2123902" y="656705"/>
                  <a:pt x="2568633" y="1288472"/>
                </a:cubicBezTo>
                <a:cubicBezTo>
                  <a:pt x="3013364" y="1920239"/>
                  <a:pt x="2651760" y="3610494"/>
                  <a:pt x="2668385" y="3790603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Freeform 54"/>
          <p:cNvSpPr/>
          <p:nvPr/>
        </p:nvSpPr>
        <p:spPr>
          <a:xfrm>
            <a:off x="7689906" y="1496290"/>
            <a:ext cx="1138844" cy="3798917"/>
          </a:xfrm>
          <a:custGeom>
            <a:avLst/>
            <a:gdLst>
              <a:gd name="connsiteX0" fmla="*/ 0 w 1138844"/>
              <a:gd name="connsiteY0" fmla="*/ 0 h 3798917"/>
              <a:gd name="connsiteX1" fmla="*/ 864524 w 1138844"/>
              <a:gd name="connsiteY1" fmla="*/ 1205346 h 3798917"/>
              <a:gd name="connsiteX2" fmla="*/ 1138844 w 1138844"/>
              <a:gd name="connsiteY2" fmla="*/ 3798917 h 3798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8844" h="3798917">
                <a:moveTo>
                  <a:pt x="0" y="0"/>
                </a:moveTo>
                <a:cubicBezTo>
                  <a:pt x="337358" y="286096"/>
                  <a:pt x="674717" y="572193"/>
                  <a:pt x="864524" y="1205346"/>
                </a:cubicBezTo>
                <a:cubicBezTo>
                  <a:pt x="1054331" y="1838499"/>
                  <a:pt x="1070957" y="3427615"/>
                  <a:pt x="1138844" y="3798917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/>
          <p:cNvCxnSpPr/>
          <p:nvPr/>
        </p:nvCxnSpPr>
        <p:spPr>
          <a:xfrm>
            <a:off x="3815542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4893810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/>
          <p:cNvGrpSpPr/>
          <p:nvPr/>
        </p:nvGrpSpPr>
        <p:grpSpPr>
          <a:xfrm>
            <a:off x="2882764" y="1837112"/>
            <a:ext cx="2976105" cy="525201"/>
            <a:chOff x="2325707" y="3228336"/>
            <a:chExt cx="2252092" cy="369332"/>
          </a:xfrm>
        </p:grpSpPr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325707" y="3259824"/>
              <a:ext cx="326752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748999" y="3228336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ulatio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ethods: enclaves with researcher-controlled release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742950" y="1521230"/>
            <a:ext cx="8492490" cy="4603774"/>
            <a:chOff x="742950" y="2968488"/>
            <a:chExt cx="6426476" cy="3237467"/>
          </a:xfrm>
        </p:grpSpPr>
        <p:cxnSp>
          <p:nvCxnSpPr>
            <p:cNvPr id="4" name="Straight Arrow Connector 3"/>
            <p:cNvCxnSpPr/>
            <p:nvPr/>
          </p:nvCxnSpPr>
          <p:spPr>
            <a:xfrm flipV="1">
              <a:off x="2186609" y="2968488"/>
              <a:ext cx="33131" cy="2782955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2186609" y="5751443"/>
              <a:ext cx="4982817" cy="1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002432" y="5751442"/>
              <a:ext cx="1770153" cy="454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/>
            </a:p>
            <a:p>
              <a:r>
                <a:rPr lang="en-US" dirty="0"/>
                <a:t>← Loss of detail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42950" y="4175300"/>
              <a:ext cx="1619250" cy="2597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ase of use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8623447" y="2433885"/>
            <a:ext cx="2730353" cy="804010"/>
            <a:chOff x="6582284" y="3720418"/>
            <a:chExt cx="2066125" cy="565396"/>
          </a:xfrm>
        </p:grpSpPr>
        <p:sp>
          <p:nvSpPr>
            <p:cNvPr id="28" name="Rectangle 27"/>
            <p:cNvSpPr/>
            <p:nvPr/>
          </p:nvSpPr>
          <p:spPr>
            <a:xfrm>
              <a:off x="6582284" y="3720418"/>
              <a:ext cx="362968" cy="565396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945252" y="3818450"/>
              <a:ext cx="17031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Raw microdata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2836465" y="1859358"/>
            <a:ext cx="2789797" cy="525201"/>
            <a:chOff x="2279408" y="3250582"/>
            <a:chExt cx="2111108" cy="369332"/>
          </a:xfrm>
        </p:grpSpPr>
        <p:sp>
          <p:nvSpPr>
            <p:cNvPr id="38" name="Rectangle 37"/>
            <p:cNvSpPr/>
            <p:nvPr/>
          </p:nvSpPr>
          <p:spPr>
            <a:xfrm>
              <a:off x="2279408" y="3250582"/>
              <a:ext cx="326752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>
              <a:spLocks noChangeAspect="1"/>
            </p:cNvSpPr>
            <p:nvPr/>
          </p:nvSpPr>
          <p:spPr>
            <a:xfrm>
              <a:off x="2325707" y="3254111"/>
              <a:ext cx="2064809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abulations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2882764" y="2365497"/>
            <a:ext cx="4204479" cy="898208"/>
            <a:chOff x="2325707" y="3654176"/>
            <a:chExt cx="3181633" cy="631638"/>
          </a:xfrm>
        </p:grpSpPr>
        <p:sp>
          <p:nvSpPr>
            <p:cNvPr id="25" name="Oval 24"/>
            <p:cNvSpPr>
              <a:spLocks noChangeAspect="1"/>
            </p:cNvSpPr>
            <p:nvPr/>
          </p:nvSpPr>
          <p:spPr>
            <a:xfrm>
              <a:off x="3155030" y="3720418"/>
              <a:ext cx="2352310" cy="56539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Public-use microdata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2325707" y="3654176"/>
              <a:ext cx="598977" cy="3733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Rectangle 2"/>
          <p:cNvSpPr/>
          <p:nvPr/>
        </p:nvSpPr>
        <p:spPr>
          <a:xfrm>
            <a:off x="2836464" y="1668039"/>
            <a:ext cx="7903579" cy="202281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7135029" y="3436754"/>
            <a:ext cx="1323266" cy="58845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n cli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7135029" y="4802871"/>
            <a:ext cx="1323266" cy="54562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DC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135029" y="2914049"/>
            <a:ext cx="1323266" cy="50731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desktop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135029" y="4025213"/>
            <a:ext cx="1323266" cy="77765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execution</a:t>
            </a:r>
          </a:p>
        </p:txBody>
      </p:sp>
      <p:sp>
        <p:nvSpPr>
          <p:cNvPr id="45" name="Rectangle 44"/>
          <p:cNvSpPr/>
          <p:nvPr/>
        </p:nvSpPr>
        <p:spPr>
          <a:xfrm>
            <a:off x="7138842" y="2382192"/>
            <a:ext cx="1323266" cy="50731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elf-controlled releas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337847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 53"/>
          <p:cNvSpPr/>
          <p:nvPr/>
        </p:nvSpPr>
        <p:spPr>
          <a:xfrm>
            <a:off x="5943600" y="1521229"/>
            <a:ext cx="2679846" cy="3832167"/>
          </a:xfrm>
          <a:custGeom>
            <a:avLst/>
            <a:gdLst>
              <a:gd name="connsiteX0" fmla="*/ 0 w 2791340"/>
              <a:gd name="connsiteY0" fmla="*/ 0 h 3790603"/>
              <a:gd name="connsiteX1" fmla="*/ 2568633 w 2791340"/>
              <a:gd name="connsiteY1" fmla="*/ 1288472 h 3790603"/>
              <a:gd name="connsiteX2" fmla="*/ 2668385 w 2791340"/>
              <a:gd name="connsiteY2" fmla="*/ 3790603 h 3790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91340" h="3790603">
                <a:moveTo>
                  <a:pt x="0" y="0"/>
                </a:moveTo>
                <a:cubicBezTo>
                  <a:pt x="1061951" y="328352"/>
                  <a:pt x="2123902" y="656705"/>
                  <a:pt x="2568633" y="1288472"/>
                </a:cubicBezTo>
                <a:cubicBezTo>
                  <a:pt x="3013364" y="1920239"/>
                  <a:pt x="2651760" y="3610494"/>
                  <a:pt x="2668385" y="3790603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Freeform 54"/>
          <p:cNvSpPr/>
          <p:nvPr/>
        </p:nvSpPr>
        <p:spPr>
          <a:xfrm>
            <a:off x="7689906" y="1496290"/>
            <a:ext cx="1138844" cy="3798917"/>
          </a:xfrm>
          <a:custGeom>
            <a:avLst/>
            <a:gdLst>
              <a:gd name="connsiteX0" fmla="*/ 0 w 1138844"/>
              <a:gd name="connsiteY0" fmla="*/ 0 h 3798917"/>
              <a:gd name="connsiteX1" fmla="*/ 864524 w 1138844"/>
              <a:gd name="connsiteY1" fmla="*/ 1205346 h 3798917"/>
              <a:gd name="connsiteX2" fmla="*/ 1138844 w 1138844"/>
              <a:gd name="connsiteY2" fmla="*/ 3798917 h 3798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8844" h="3798917">
                <a:moveTo>
                  <a:pt x="0" y="0"/>
                </a:moveTo>
                <a:cubicBezTo>
                  <a:pt x="337358" y="286096"/>
                  <a:pt x="674717" y="572193"/>
                  <a:pt x="864524" y="1205346"/>
                </a:cubicBezTo>
                <a:cubicBezTo>
                  <a:pt x="1054331" y="1838499"/>
                  <a:pt x="1070957" y="3427615"/>
                  <a:pt x="1138844" y="3798917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/>
          <p:cNvCxnSpPr/>
          <p:nvPr/>
        </p:nvCxnSpPr>
        <p:spPr>
          <a:xfrm>
            <a:off x="3815542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4893810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/>
          <p:cNvGrpSpPr/>
          <p:nvPr/>
        </p:nvGrpSpPr>
        <p:grpSpPr>
          <a:xfrm>
            <a:off x="2882764" y="1837112"/>
            <a:ext cx="2976105" cy="525201"/>
            <a:chOff x="2325707" y="3228336"/>
            <a:chExt cx="2252092" cy="369332"/>
          </a:xfrm>
        </p:grpSpPr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325707" y="3259824"/>
              <a:ext cx="326752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748999" y="3228336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ulatio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ethods: enclaves with researcher-controlled release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742950" y="1521230"/>
            <a:ext cx="8492490" cy="4603774"/>
            <a:chOff x="742950" y="2968488"/>
            <a:chExt cx="6426476" cy="3237467"/>
          </a:xfrm>
        </p:grpSpPr>
        <p:cxnSp>
          <p:nvCxnSpPr>
            <p:cNvPr id="4" name="Straight Arrow Connector 3"/>
            <p:cNvCxnSpPr/>
            <p:nvPr/>
          </p:nvCxnSpPr>
          <p:spPr>
            <a:xfrm flipV="1">
              <a:off x="2186609" y="2968488"/>
              <a:ext cx="33131" cy="2782955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2186609" y="5751443"/>
              <a:ext cx="4982817" cy="1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002432" y="5751442"/>
              <a:ext cx="1770153" cy="454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/>
            </a:p>
            <a:p>
              <a:r>
                <a:rPr lang="en-US" dirty="0"/>
                <a:t>← Loss of detail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42950" y="4175300"/>
              <a:ext cx="1619250" cy="2597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ase of use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8623447" y="2433885"/>
            <a:ext cx="2730353" cy="804010"/>
            <a:chOff x="6582284" y="3720418"/>
            <a:chExt cx="2066125" cy="565396"/>
          </a:xfrm>
        </p:grpSpPr>
        <p:sp>
          <p:nvSpPr>
            <p:cNvPr id="28" name="Rectangle 27"/>
            <p:cNvSpPr/>
            <p:nvPr/>
          </p:nvSpPr>
          <p:spPr>
            <a:xfrm>
              <a:off x="6582284" y="3720418"/>
              <a:ext cx="362968" cy="565396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945252" y="3818450"/>
              <a:ext cx="17031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Raw microdata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2836465" y="1859358"/>
            <a:ext cx="2789797" cy="525201"/>
            <a:chOff x="2279408" y="3250582"/>
            <a:chExt cx="2111108" cy="369332"/>
          </a:xfrm>
        </p:grpSpPr>
        <p:sp>
          <p:nvSpPr>
            <p:cNvPr id="38" name="Rectangle 37"/>
            <p:cNvSpPr/>
            <p:nvPr/>
          </p:nvSpPr>
          <p:spPr>
            <a:xfrm>
              <a:off x="2279408" y="3250582"/>
              <a:ext cx="326752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>
              <a:spLocks noChangeAspect="1"/>
            </p:cNvSpPr>
            <p:nvPr/>
          </p:nvSpPr>
          <p:spPr>
            <a:xfrm>
              <a:off x="2325707" y="3254111"/>
              <a:ext cx="2064809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abulations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2882764" y="2365497"/>
            <a:ext cx="4204479" cy="898208"/>
            <a:chOff x="2325707" y="3654176"/>
            <a:chExt cx="3181633" cy="631638"/>
          </a:xfrm>
        </p:grpSpPr>
        <p:sp>
          <p:nvSpPr>
            <p:cNvPr id="25" name="Oval 24"/>
            <p:cNvSpPr>
              <a:spLocks noChangeAspect="1"/>
            </p:cNvSpPr>
            <p:nvPr/>
          </p:nvSpPr>
          <p:spPr>
            <a:xfrm>
              <a:off x="3155030" y="3720418"/>
              <a:ext cx="2352310" cy="56539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Public-use microdata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2325707" y="3654176"/>
              <a:ext cx="598977" cy="3733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Rectangle 2"/>
          <p:cNvSpPr/>
          <p:nvPr/>
        </p:nvSpPr>
        <p:spPr>
          <a:xfrm>
            <a:off x="2836464" y="1668039"/>
            <a:ext cx="7903579" cy="202281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7135029" y="3436754"/>
            <a:ext cx="1323266" cy="58845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n cli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7135029" y="4802871"/>
            <a:ext cx="1323266" cy="54562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DC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135029" y="2914049"/>
            <a:ext cx="1323266" cy="50731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desktop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135029" y="4025213"/>
            <a:ext cx="1323266" cy="77765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execution</a:t>
            </a:r>
          </a:p>
        </p:txBody>
      </p:sp>
      <p:sp>
        <p:nvSpPr>
          <p:cNvPr id="45" name="Rectangle 44"/>
          <p:cNvSpPr/>
          <p:nvPr/>
        </p:nvSpPr>
        <p:spPr>
          <a:xfrm rot="5400000">
            <a:off x="7966682" y="3437194"/>
            <a:ext cx="1323266" cy="50731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127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elf-controlled releas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1899284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paradigm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7761" y="2963069"/>
            <a:ext cx="2381250" cy="2076450"/>
          </a:xfrm>
        </p:spPr>
      </p:pic>
      <p:sp>
        <p:nvSpPr>
          <p:cNvPr id="8" name="Arrow: Left 7"/>
          <p:cNvSpPr/>
          <p:nvPr/>
        </p:nvSpPr>
        <p:spPr>
          <a:xfrm>
            <a:off x="6695444" y="3453148"/>
            <a:ext cx="1835558" cy="50837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9816" y="2375147"/>
            <a:ext cx="2333407" cy="266437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8893" y="1986455"/>
            <a:ext cx="2643287" cy="3216166"/>
          </a:xfrm>
          <a:prstGeom prst="rect">
            <a:avLst/>
          </a:prstGeom>
        </p:spPr>
      </p:pic>
      <p:sp>
        <p:nvSpPr>
          <p:cNvPr id="7" name="Arrow: Left 6"/>
          <p:cNvSpPr/>
          <p:nvPr/>
        </p:nvSpPr>
        <p:spPr>
          <a:xfrm>
            <a:off x="4502181" y="3453148"/>
            <a:ext cx="1835558" cy="50837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9412014" y="5692700"/>
            <a:ext cx="2144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type of room?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93922" y="1860356"/>
            <a:ext cx="29432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type of access device?</a:t>
            </a:r>
          </a:p>
        </p:txBody>
      </p:sp>
      <p:cxnSp>
        <p:nvCxnSpPr>
          <p:cNvPr id="12" name="Straight Arrow Connector 11"/>
          <p:cNvCxnSpPr>
            <a:cxnSpLocks/>
          </p:cNvCxnSpPr>
          <p:nvPr/>
        </p:nvCxnSpPr>
        <p:spPr>
          <a:xfrm>
            <a:off x="7970928" y="2288628"/>
            <a:ext cx="783090" cy="1250669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cxnSpLocks/>
            <a:stCxn id="9" idx="0"/>
          </p:cNvCxnSpPr>
          <p:nvPr/>
        </p:nvCxnSpPr>
        <p:spPr>
          <a:xfrm flipH="1" flipV="1">
            <a:off x="9637173" y="4682359"/>
            <a:ext cx="846896" cy="1010341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19751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5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7" grpId="0" animBg="1"/>
      <p:bldP spid="9" grpId="0"/>
      <p:bldP spid="1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dentiality of statistical agency da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4000" dirty="0"/>
              <a:t>“… when the secretary of [Commerce and Labor] directed that the census schedules of manufacturing establishments should be open to the inspection of officials belonging to another bureau within the same department […] and the director [of the Census Bureau] refused [….] because of the pledge of secrecy…”</a:t>
            </a:r>
          </a:p>
          <a:p>
            <a:pPr marL="0" indent="0">
              <a:buNone/>
            </a:pPr>
            <a:r>
              <a:rPr lang="en-US" sz="4000" dirty="0"/>
              <a:t>(Walter Wilcox, 1914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0860" y="3928122"/>
            <a:ext cx="4607179" cy="2929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990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0" y="365125"/>
            <a:ext cx="9784080" cy="1325563"/>
          </a:xfrm>
        </p:spPr>
        <p:txBody>
          <a:bodyPr/>
          <a:lstStyle/>
          <a:p>
            <a:r>
              <a:rPr lang="en-US" dirty="0"/>
              <a:t>basic paradigm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7761" y="2963069"/>
            <a:ext cx="2381250" cy="2076450"/>
          </a:xfrm>
        </p:spPr>
      </p:pic>
      <p:grpSp>
        <p:nvGrpSpPr>
          <p:cNvPr id="13" name="Group 12"/>
          <p:cNvGrpSpPr/>
          <p:nvPr/>
        </p:nvGrpSpPr>
        <p:grpSpPr>
          <a:xfrm>
            <a:off x="6693922" y="1860356"/>
            <a:ext cx="4862202" cy="4201676"/>
            <a:chOff x="6693922" y="1860356"/>
            <a:chExt cx="4862202" cy="4201676"/>
          </a:xfrm>
        </p:grpSpPr>
        <p:sp>
          <p:nvSpPr>
            <p:cNvPr id="9" name="TextBox 8"/>
            <p:cNvSpPr txBox="1"/>
            <p:nvPr/>
          </p:nvSpPr>
          <p:spPr>
            <a:xfrm>
              <a:off x="9412014" y="5692700"/>
              <a:ext cx="214411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What type of room?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693922" y="1860356"/>
              <a:ext cx="29432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What type of access device?</a:t>
              </a:r>
            </a:p>
          </p:txBody>
        </p:sp>
        <p:cxnSp>
          <p:nvCxnSpPr>
            <p:cNvPr id="12" name="Straight Arrow Connector 11"/>
            <p:cNvCxnSpPr>
              <a:cxnSpLocks/>
            </p:cNvCxnSpPr>
            <p:nvPr/>
          </p:nvCxnSpPr>
          <p:spPr>
            <a:xfrm>
              <a:off x="7970928" y="2288628"/>
              <a:ext cx="783090" cy="1250669"/>
            </a:xfrm>
            <a:prstGeom prst="straightConnector1">
              <a:avLst/>
            </a:prstGeom>
            <a:ln w="412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>
              <a:cxnSpLocks/>
              <a:stCxn id="9" idx="0"/>
            </p:cNvCxnSpPr>
            <p:nvPr/>
          </p:nvCxnSpPr>
          <p:spPr>
            <a:xfrm flipH="1" flipV="1">
              <a:off x="9637173" y="4682359"/>
              <a:ext cx="846896" cy="1010341"/>
            </a:xfrm>
            <a:prstGeom prst="straightConnector1">
              <a:avLst/>
            </a:prstGeom>
            <a:ln w="412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55349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-4.81481E-6 L -0.28789 0.00024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40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0" y="365125"/>
            <a:ext cx="9784080" cy="1325563"/>
          </a:xfrm>
        </p:spPr>
        <p:txBody>
          <a:bodyPr/>
          <a:lstStyle/>
          <a:p>
            <a:r>
              <a:rPr lang="en-US" dirty="0"/>
              <a:t>basic paradigm</a:t>
            </a:r>
          </a:p>
        </p:txBody>
      </p:sp>
      <p:pic>
        <p:nvPicPr>
          <p:cNvPr id="16" name="Content Placeholder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2470" y="2963069"/>
            <a:ext cx="2381250" cy="2076450"/>
          </a:xfrm>
          <a:prstGeom prst="rect">
            <a:avLst/>
          </a:prstGeom>
        </p:spPr>
      </p:pic>
      <p:cxnSp>
        <p:nvCxnSpPr>
          <p:cNvPr id="8" name="Straight Connector 7"/>
          <p:cNvCxnSpPr>
            <a:cxnSpLocks/>
          </p:cNvCxnSpPr>
          <p:nvPr/>
        </p:nvCxnSpPr>
        <p:spPr>
          <a:xfrm>
            <a:off x="493486" y="5377970"/>
            <a:ext cx="10236090" cy="0"/>
          </a:xfrm>
          <a:prstGeom prst="line">
            <a:avLst/>
          </a:prstGeom>
          <a:ln w="123825" cap="rnd">
            <a:solidFill>
              <a:srgbClr val="3333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cxnSpLocks/>
          </p:cNvCxnSpPr>
          <p:nvPr/>
        </p:nvCxnSpPr>
        <p:spPr>
          <a:xfrm>
            <a:off x="508000" y="6154057"/>
            <a:ext cx="10221576" cy="49371"/>
          </a:xfrm>
          <a:prstGeom prst="line">
            <a:avLst/>
          </a:prstGeom>
          <a:ln w="123825" cap="rnd">
            <a:solidFill>
              <a:srgbClr val="3333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4" y="2554884"/>
            <a:ext cx="3166198" cy="2111829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1939" y="2428973"/>
            <a:ext cx="1717637" cy="2434965"/>
          </a:xfrm>
          <a:prstGeom prst="rect">
            <a:avLst/>
          </a:prstGeom>
          <a:effectLst>
            <a:softEdge rad="88900"/>
          </a:effectLst>
        </p:spPr>
      </p:pic>
      <p:sp>
        <p:nvSpPr>
          <p:cNvPr id="31" name="Rectangle: Rounded Corners 30"/>
          <p:cNvSpPr/>
          <p:nvPr/>
        </p:nvSpPr>
        <p:spPr>
          <a:xfrm>
            <a:off x="6137807" y="5006397"/>
            <a:ext cx="261257" cy="759617"/>
          </a:xfrm>
          <a:prstGeom prst="roundRect">
            <a:avLst/>
          </a:prstGeom>
          <a:solidFill>
            <a:srgbClr val="B3B3B3"/>
          </a:solidFill>
          <a:ln w="12700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: Rounded Corners 31"/>
          <p:cNvSpPr/>
          <p:nvPr/>
        </p:nvSpPr>
        <p:spPr>
          <a:xfrm>
            <a:off x="5261838" y="5766014"/>
            <a:ext cx="261257" cy="759617"/>
          </a:xfrm>
          <a:prstGeom prst="roundRect">
            <a:avLst/>
          </a:prstGeom>
          <a:solidFill>
            <a:srgbClr val="B3B3B3"/>
          </a:solidFill>
          <a:ln w="12700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: Rounded Corners 32"/>
          <p:cNvSpPr/>
          <p:nvPr/>
        </p:nvSpPr>
        <p:spPr>
          <a:xfrm>
            <a:off x="1118424" y="5010432"/>
            <a:ext cx="261257" cy="759617"/>
          </a:xfrm>
          <a:prstGeom prst="roundRect">
            <a:avLst/>
          </a:prstGeom>
          <a:solidFill>
            <a:srgbClr val="B3B3B3"/>
          </a:solidFill>
          <a:ln w="12700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: Rounded Corners 33"/>
          <p:cNvSpPr/>
          <p:nvPr/>
        </p:nvSpPr>
        <p:spPr>
          <a:xfrm>
            <a:off x="615764" y="5766013"/>
            <a:ext cx="261257" cy="759617"/>
          </a:xfrm>
          <a:prstGeom prst="roundRect">
            <a:avLst/>
          </a:prstGeom>
          <a:solidFill>
            <a:srgbClr val="B3B3B3"/>
          </a:solidFill>
          <a:ln w="12700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: Rounded Corners 34"/>
          <p:cNvSpPr/>
          <p:nvPr/>
        </p:nvSpPr>
        <p:spPr>
          <a:xfrm>
            <a:off x="10333078" y="5766012"/>
            <a:ext cx="261257" cy="759617"/>
          </a:xfrm>
          <a:prstGeom prst="roundRect">
            <a:avLst/>
          </a:prstGeom>
          <a:solidFill>
            <a:srgbClr val="B3B3B3"/>
          </a:solidFill>
          <a:ln w="12700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: Rounded Corners 35"/>
          <p:cNvSpPr/>
          <p:nvPr/>
        </p:nvSpPr>
        <p:spPr>
          <a:xfrm>
            <a:off x="10333077" y="4880407"/>
            <a:ext cx="261257" cy="759617"/>
          </a:xfrm>
          <a:prstGeom prst="roundRect">
            <a:avLst/>
          </a:prstGeom>
          <a:solidFill>
            <a:srgbClr val="B3B3B3"/>
          </a:solidFill>
          <a:ln w="12700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: Rounded Corners 36"/>
          <p:cNvSpPr/>
          <p:nvPr/>
        </p:nvSpPr>
        <p:spPr>
          <a:xfrm>
            <a:off x="8131513" y="5006397"/>
            <a:ext cx="261257" cy="759617"/>
          </a:xfrm>
          <a:prstGeom prst="roundRect">
            <a:avLst/>
          </a:prstGeom>
          <a:solidFill>
            <a:srgbClr val="B3B3B3"/>
          </a:solidFill>
          <a:ln w="12700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5775" y="1212516"/>
            <a:ext cx="2692625" cy="1433064"/>
          </a:xfrm>
          <a:prstGeom prst="rect">
            <a:avLst/>
          </a:prstGeom>
          <a:effectLst>
            <a:softEdge rad="203200"/>
          </a:effectLst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5445" y="2461169"/>
            <a:ext cx="1836494" cy="2359441"/>
          </a:xfrm>
          <a:prstGeom prst="rect">
            <a:avLst/>
          </a:prstGeom>
          <a:effectLst>
            <a:softEdge rad="101600"/>
          </a:effectLst>
        </p:spPr>
      </p:pic>
    </p:spTree>
    <p:extLst>
      <p:ext uri="{BB962C8B-B14F-4D97-AF65-F5344CB8AC3E}">
        <p14:creationId xmlns:p14="http://schemas.microsoft.com/office/powerpoint/2010/main" val="1785404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xit" presetSubtype="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4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"/>
                            </p:stCondLst>
                            <p:childTnLst>
                              <p:par>
                                <p:cTn id="5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000"/>
                            </p:stCondLst>
                            <p:childTnLst>
                              <p:par>
                                <p:cTn id="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3" grpId="0" animBg="1"/>
      <p:bldP spid="33" grpId="1" animBg="1"/>
      <p:bldP spid="34" grpId="0" animBg="1"/>
      <p:bldP spid="34" grpId="1" animBg="1"/>
      <p:bldP spid="35" grpId="0" animBg="1"/>
      <p:bldP spid="36" grpId="0" animBg="1"/>
      <p:bldP spid="36" grpId="1" animBg="1"/>
      <p:bldP spid="37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t spaceship thing…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2400" y="1834166"/>
            <a:ext cx="3947886" cy="4263717"/>
          </a:xfrm>
        </p:spPr>
      </p:pic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720318"/>
          </a:xfrm>
        </p:spPr>
        <p:txBody>
          <a:bodyPr/>
          <a:lstStyle/>
          <a:p>
            <a:r>
              <a:rPr lang="en-US" dirty="0"/>
              <a:t>Pre-fabricated secure room</a:t>
            </a:r>
          </a:p>
          <a:p>
            <a:r>
              <a:rPr lang="en-US" dirty="0"/>
              <a:t>First one installed in 2015 at University of St. Andrews (Scotland/UK)</a:t>
            </a:r>
          </a:p>
          <a:p>
            <a:r>
              <a:rPr lang="en-US" dirty="0"/>
              <a:t>2.3m x 1.8m</a:t>
            </a:r>
          </a:p>
          <a:p>
            <a:r>
              <a:rPr lang="en-US" dirty="0"/>
              <a:t>Electronic locking, biometric recognition, CCTV, “Smart Glass”</a:t>
            </a:r>
          </a:p>
          <a:p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£ 25,000 ~ $30,000 </a:t>
            </a:r>
            <a:r>
              <a:rPr lang="en-US" dirty="0"/>
              <a:t>incl. installation</a:t>
            </a:r>
          </a:p>
          <a:p>
            <a:r>
              <a:rPr lang="en-US" dirty="0"/>
              <a:t>Part of UK ADRN</a:t>
            </a:r>
          </a:p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8519886" y="3137970"/>
            <a:ext cx="15675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[For now: EU]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331200" y="3642239"/>
            <a:ext cx="2162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(7’6” x 5’10”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02629" y="6429829"/>
            <a:ext cx="69813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http://libanswers.st-andrews.ac.uk/faq/93548</a:t>
            </a:r>
          </a:p>
        </p:txBody>
      </p:sp>
    </p:spTree>
    <p:extLst>
      <p:ext uri="{BB962C8B-B14F-4D97-AF65-F5344CB8AC3E}">
        <p14:creationId xmlns:p14="http://schemas.microsoft.com/office/powerpoint/2010/main" val="13205529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" presetClass="exit" presetSubtype="2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7" grpId="0"/>
      <p:bldP spid="7" grpId="1"/>
      <p:bldP spid="8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n cli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With the notable exception of the Canadian RDCs (for now), </a:t>
            </a:r>
            <a:r>
              <a:rPr lang="en-US" sz="4000" b="1" dirty="0"/>
              <a:t>thin clients</a:t>
            </a:r>
            <a:r>
              <a:rPr lang="en-US" dirty="0"/>
              <a:t> are the preferred method of access</a:t>
            </a:r>
          </a:p>
          <a:p>
            <a:pPr lvl="1"/>
            <a:r>
              <a:rPr lang="en-US" dirty="0"/>
              <a:t>Surrounded by </a:t>
            </a:r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walls</a:t>
            </a:r>
            <a:r>
              <a:rPr lang="en-US" dirty="0"/>
              <a:t> = RDC [FSRDC in US, Germany, others]</a:t>
            </a:r>
          </a:p>
          <a:p>
            <a:pPr lvl="1"/>
            <a:r>
              <a:rPr lang="en-US" dirty="0"/>
              <a:t>Embedded in a managed device = “thin client” [above, plus France]</a:t>
            </a:r>
          </a:p>
          <a:p>
            <a:pPr lvl="1"/>
            <a:r>
              <a:rPr lang="en-US" dirty="0"/>
              <a:t>Software with a managed access token = “remote desktop” or “VDI” [some US agencies; DK, Finland]</a:t>
            </a:r>
          </a:p>
          <a:p>
            <a:r>
              <a:rPr lang="en-US" dirty="0"/>
              <a:t>Additional controls may be</a:t>
            </a:r>
          </a:p>
          <a:p>
            <a:pPr lvl="1"/>
            <a:r>
              <a:rPr lang="en-US" dirty="0"/>
              <a:t>IP address control [many]</a:t>
            </a:r>
          </a:p>
          <a:p>
            <a:pPr lvl="1"/>
            <a:r>
              <a:rPr lang="en-US" dirty="0"/>
              <a:t>Biometric authentication [France]</a:t>
            </a:r>
          </a:p>
          <a:p>
            <a:pPr lvl="1"/>
            <a:r>
              <a:rPr lang="en-US" dirty="0"/>
              <a:t>Smart card [France, US]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9437" y="3916234"/>
            <a:ext cx="3409355" cy="147447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1232" y="3916234"/>
            <a:ext cx="2387680" cy="2387680"/>
          </a:xfrm>
          <a:prstGeom prst="rect">
            <a:avLst/>
          </a:prstGeom>
          <a:effectLst>
            <a:softEdge rad="10160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6286" y="3918209"/>
            <a:ext cx="4497572" cy="2393691"/>
          </a:xfrm>
          <a:prstGeom prst="rect">
            <a:avLst/>
          </a:prstGeom>
          <a:effectLst>
            <a:softEdge rad="88900"/>
          </a:effectLst>
        </p:spPr>
      </p:pic>
      <p:sp>
        <p:nvSpPr>
          <p:cNvPr id="8" name="TextBox 7"/>
          <p:cNvSpPr txBox="1"/>
          <p:nvPr/>
        </p:nvSpPr>
        <p:spPr>
          <a:xfrm>
            <a:off x="4952030" y="4653470"/>
            <a:ext cx="193786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70.48.127.42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5868" y="4323521"/>
            <a:ext cx="1678287" cy="1916917"/>
          </a:xfrm>
          <a:prstGeom prst="rect">
            <a:avLst/>
          </a:prstGeom>
          <a:effectLst>
            <a:softEdge rad="88900"/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0529" y="4323521"/>
            <a:ext cx="2438740" cy="2438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739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2"/>
      <p:bldP spid="8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t box th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Custom remote access device used at CASD</a:t>
            </a:r>
          </a:p>
          <a:p>
            <a:r>
              <a:rPr lang="en-US" dirty="0"/>
              <a:t>Encrypted storage, biometric smartcard reader, pre-configured VPN</a:t>
            </a:r>
          </a:p>
          <a:p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€35.00 </a:t>
            </a:r>
            <a:r>
              <a:rPr lang="en-US" dirty="0"/>
              <a:t>/ month, first user free, additional users €37.00 - €20.00 / month (decreasing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2622423"/>
            <a:ext cx="5181600" cy="2757742"/>
          </a:xfrm>
          <a:prstGeom prst="rect">
            <a:avLst/>
          </a:prstGeom>
          <a:effectLst>
            <a:softEdge rad="203200"/>
          </a:effectLst>
        </p:spPr>
      </p:pic>
    </p:spTree>
    <p:extLst>
      <p:ext uri="{BB962C8B-B14F-4D97-AF65-F5344CB8AC3E}">
        <p14:creationId xmlns:p14="http://schemas.microsoft.com/office/powerpoint/2010/main" val="2870569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ability (CAS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… added in </a:t>
            </a:r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2016 alone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71 access points</a:t>
            </a:r>
          </a:p>
          <a:p>
            <a:r>
              <a:rPr lang="en-US" dirty="0"/>
              <a:t>232 users</a:t>
            </a:r>
          </a:p>
          <a:p>
            <a:r>
              <a:rPr lang="en-US" dirty="0"/>
              <a:t>62 project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Total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/>
              <a:t>371 access points</a:t>
            </a:r>
          </a:p>
          <a:p>
            <a:r>
              <a:rPr lang="en-US" dirty="0"/>
              <a:t>1402 users</a:t>
            </a:r>
          </a:p>
          <a:p>
            <a:r>
              <a:rPr lang="en-US" dirty="0"/>
              <a:t>472 project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1632" y="4110360"/>
            <a:ext cx="3469800" cy="231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540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750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5" grpId="0" uiExpand="1" build="p"/>
      <p:bldP spid="7" grpId="0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s to be learned?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2795208" y="1772359"/>
            <a:ext cx="7302623" cy="435133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dirty="0"/>
              <a:t>The very first RDCs were in North America (USA and Canada)</a:t>
            </a:r>
          </a:p>
          <a:p>
            <a:pPr marL="0" indent="0" algn="ctr">
              <a:buNone/>
            </a:pPr>
            <a:r>
              <a:rPr lang="en-US" sz="3200" dirty="0"/>
              <a:t>European systems came later</a:t>
            </a:r>
          </a:p>
          <a:p>
            <a:pPr marL="457200" lvl="1" indent="0" algn="ctr">
              <a:buNone/>
            </a:pPr>
            <a:r>
              <a:rPr lang="en-US" sz="3200" dirty="0"/>
              <a:t>But can they provide new insights for our systems?</a:t>
            </a:r>
          </a:p>
        </p:txBody>
      </p:sp>
    </p:spTree>
    <p:extLst>
      <p:ext uri="{BB962C8B-B14F-4D97-AF65-F5344CB8AC3E}">
        <p14:creationId xmlns:p14="http://schemas.microsoft.com/office/powerpoint/2010/main" val="34030435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1682547"/>
              </p:ext>
            </p:extLst>
          </p:nvPr>
        </p:nvGraphicFramePr>
        <p:xfrm>
          <a:off x="1264920" y="1554226"/>
          <a:ext cx="9289322" cy="4754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9977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155739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310692">
                  <a:extLst>
                    <a:ext uri="{9D8B030D-6E8A-4147-A177-3AD203B41FA5}">
                      <a16:colId xmlns:a16="http://schemas.microsoft.com/office/drawing/2014/main" val="1204206316"/>
                    </a:ext>
                  </a:extLst>
                </a:gridCol>
                <a:gridCol w="1679037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77973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804147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ensus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817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24720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</a:tbl>
          </a:graphicData>
        </a:graphic>
      </p:graphicFrame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28501109"/>
              </p:ext>
            </p:extLst>
          </p:nvPr>
        </p:nvGraphicFramePr>
        <p:xfrm>
          <a:off x="1264920" y="1569593"/>
          <a:ext cx="9289322" cy="4754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9977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155739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310692">
                  <a:extLst>
                    <a:ext uri="{9D8B030D-6E8A-4147-A177-3AD203B41FA5}">
                      <a16:colId xmlns:a16="http://schemas.microsoft.com/office/drawing/2014/main" val="1204206316"/>
                    </a:ext>
                  </a:extLst>
                </a:gridCol>
                <a:gridCol w="1679037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77973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804147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ensus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trusted pers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817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JoSuA</a:t>
                      </a:r>
                      <a:r>
                        <a:rPr lang="en-US" dirty="0"/>
                        <a:t>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Smaller 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(software, whitelist commands)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24720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atrix for confidential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29572487"/>
              </p:ext>
            </p:extLst>
          </p:nvPr>
        </p:nvGraphicFramePr>
        <p:xfrm>
          <a:off x="1264920" y="1569593"/>
          <a:ext cx="9289322" cy="4485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9977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155739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310692">
                  <a:extLst>
                    <a:ext uri="{9D8B030D-6E8A-4147-A177-3AD203B41FA5}">
                      <a16:colId xmlns:a16="http://schemas.microsoft.com/office/drawing/2014/main" val="1204206316"/>
                    </a:ext>
                  </a:extLst>
                </a:gridCol>
                <a:gridCol w="1679037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77973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804147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ensus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trusted pers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817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JoSuA</a:t>
                      </a:r>
                      <a:r>
                        <a:rPr lang="en-US" dirty="0"/>
                        <a:t>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Smaller 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(software, whitelist commands)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IAB laptop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24720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</a:tbl>
          </a:graphicData>
        </a:graphic>
      </p:graphicFrame>
      <p:graphicFrame>
        <p:nvGraphicFramePr>
          <p:cNvPr id="7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8890365"/>
              </p:ext>
            </p:extLst>
          </p:nvPr>
        </p:nvGraphicFramePr>
        <p:xfrm>
          <a:off x="1264920" y="1569593"/>
          <a:ext cx="9289322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9977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155739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310692">
                  <a:extLst>
                    <a:ext uri="{9D8B030D-6E8A-4147-A177-3AD203B41FA5}">
                      <a16:colId xmlns:a16="http://schemas.microsoft.com/office/drawing/2014/main" val="1204206316"/>
                    </a:ext>
                  </a:extLst>
                </a:gridCol>
                <a:gridCol w="1679037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77973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804147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ensus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trusted pers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817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JoSuA</a:t>
                      </a:r>
                      <a:r>
                        <a:rPr lang="en-US" dirty="0"/>
                        <a:t>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Smaller 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(software, whitelist commands)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IAB laptop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24720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Extra Full (custom-built hardware)</a:t>
                      </a: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r>
                        <a:rPr lang="en-US" sz="16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university office, EU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</a:tbl>
          </a:graphicData>
        </a:graphic>
      </p:graphicFrame>
      <p:graphicFrame>
        <p:nvGraphicFramePr>
          <p:cNvPr id="8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1890981"/>
              </p:ext>
            </p:extLst>
          </p:nvPr>
        </p:nvGraphicFramePr>
        <p:xfrm>
          <a:off x="1264920" y="1569593"/>
          <a:ext cx="9289322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9977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155739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310692">
                  <a:extLst>
                    <a:ext uri="{9D8B030D-6E8A-4147-A177-3AD203B41FA5}">
                      <a16:colId xmlns:a16="http://schemas.microsoft.com/office/drawing/2014/main" val="1204206316"/>
                    </a:ext>
                  </a:extLst>
                </a:gridCol>
                <a:gridCol w="1679037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77973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804147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0920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atrix for confidential data</a:t>
            </a:r>
          </a:p>
        </p:txBody>
      </p:sp>
      <p:graphicFrame>
        <p:nvGraphicFramePr>
          <p:cNvPr id="7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94487"/>
              </p:ext>
            </p:extLst>
          </p:nvPr>
        </p:nvGraphicFramePr>
        <p:xfrm>
          <a:off x="1399032" y="1496441"/>
          <a:ext cx="9289322" cy="4699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9977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155739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310692">
                  <a:extLst>
                    <a:ext uri="{9D8B030D-6E8A-4147-A177-3AD203B41FA5}">
                      <a16:colId xmlns:a16="http://schemas.microsoft.com/office/drawing/2014/main" val="1204206316"/>
                    </a:ext>
                  </a:extLst>
                </a:gridCol>
                <a:gridCol w="1679037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77973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804147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b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</a:br>
                      <a:r>
                        <a:rPr lang="en-US" sz="14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choice of software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Stat.Denmark</a:t>
                      </a:r>
                      <a:br>
                        <a:rPr lang="en-US" dirty="0"/>
                      </a:br>
                      <a:r>
                        <a:rPr lang="en-US" dirty="0"/>
                        <a:t>(typical EU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- 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 -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ome </a:t>
                      </a:r>
                      <a:b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(choice of software)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DC Cana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r>
                        <a:rPr lang="en-US" sz="12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</a:t>
                      </a:r>
                      <a:r>
                        <a:rPr lang="en-US" sz="1200" b="1" dirty="0" err="1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demog</a:t>
                      </a:r>
                      <a:r>
                        <a:rPr lang="en-US" sz="12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. only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b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</a:br>
                      <a:r>
                        <a:rPr lang="en-US" sz="12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host institution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ome </a:t>
                      </a:r>
                      <a:b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ome </a:t>
                      </a:r>
                      <a:b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(choice of software)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817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Stat.Canada</a:t>
                      </a:r>
                      <a:br>
                        <a:rPr lang="en-US" dirty="0"/>
                      </a:br>
                      <a:r>
                        <a:rPr lang="en-US" dirty="0"/>
                        <a:t>(typical of HQ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</a:t>
                      </a:r>
                      <a:br>
                        <a:rPr lang="en-US" b="1" dirty="0">
                          <a:solidFill>
                            <a:srgbClr val="FF0000"/>
                          </a:solidFill>
                        </a:rPr>
                      </a:br>
                      <a:r>
                        <a:rPr lang="en-US" sz="1200" b="1" dirty="0">
                          <a:solidFill>
                            <a:srgbClr val="FF0000"/>
                          </a:solidFill>
                        </a:rPr>
                        <a:t>(incl. busin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b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</a:br>
                      <a:r>
                        <a:rPr lang="en-US" sz="14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choice of software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DC Canada</a:t>
                      </a:r>
                      <a:br>
                        <a:rPr lang="en-US" dirty="0"/>
                      </a:br>
                      <a:r>
                        <a:rPr lang="en-US" dirty="0"/>
                        <a:t>(thin client)</a:t>
                      </a:r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planned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24720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354606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atrix for confidential data</a:t>
            </a:r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1656551"/>
              </p:ext>
            </p:extLst>
          </p:nvPr>
        </p:nvGraphicFramePr>
        <p:xfrm>
          <a:off x="1439071" y="1517690"/>
          <a:ext cx="9289322" cy="487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9977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155739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310692">
                  <a:extLst>
                    <a:ext uri="{9D8B030D-6E8A-4147-A177-3AD203B41FA5}">
                      <a16:colId xmlns:a16="http://schemas.microsoft.com/office/drawing/2014/main" val="1204206316"/>
                    </a:ext>
                  </a:extLst>
                </a:gridCol>
                <a:gridCol w="1679037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77973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804147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ensus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JoSuA</a:t>
                      </a:r>
                      <a:r>
                        <a:rPr lang="en-US" dirty="0"/>
                        <a:t>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Smaller 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(software, whitelist commands)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Extra Full (custom-built hardware)</a:t>
                      </a: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r>
                        <a:rPr lang="en-US" sz="16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university office, EU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Stat.Denmark</a:t>
                      </a:r>
                      <a:br>
                        <a:rPr lang="en-US" dirty="0"/>
                      </a:br>
                      <a:r>
                        <a:rPr lang="en-US" dirty="0"/>
                        <a:t>(typical EU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- 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 -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ome </a:t>
                      </a:r>
                      <a:b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(choice of software)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702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7699570"/>
      </p:ext>
    </p:extLst>
  </p:cSld>
  <p:clrMapOvr>
    <a:masterClrMapping/>
  </p:clrMapOvr>
  <p:transition spd="slow">
    <p:randomBar dir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5435" y="1319282"/>
            <a:ext cx="8040757" cy="1278145"/>
          </a:xfrm>
        </p:spPr>
        <p:txBody>
          <a:bodyPr/>
          <a:lstStyle/>
          <a:p>
            <a:r>
              <a:rPr lang="en-US" dirty="0"/>
              <a:t>rich new analysis and publication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618383" y="3011695"/>
            <a:ext cx="7407965" cy="1421158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sz="4400" dirty="0">
                <a:latin typeface="+mj-lt"/>
              </a:rPr>
              <a:t>held back by concerns of citizens and businesses about privac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40327" y="4946073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902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521527" y="4946073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942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188527" y="4946073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960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667737" y="4946073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985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923257" y="4946073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day</a:t>
            </a:r>
          </a:p>
        </p:txBody>
      </p:sp>
      <p:cxnSp>
        <p:nvCxnSpPr>
          <p:cNvPr id="10" name="Straight Connector 9"/>
          <p:cNvCxnSpPr>
            <a:cxnSpLocks/>
            <a:endCxn id="5" idx="2"/>
          </p:cNvCxnSpPr>
          <p:nvPr/>
        </p:nvCxnSpPr>
        <p:spPr>
          <a:xfrm flipV="1">
            <a:off x="540327" y="5315405"/>
            <a:ext cx="2635828" cy="17374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2521527" y="5315405"/>
            <a:ext cx="3321627" cy="17374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cxnSpLocks/>
            <a:endCxn id="7" idx="2"/>
          </p:cNvCxnSpPr>
          <p:nvPr/>
        </p:nvCxnSpPr>
        <p:spPr>
          <a:xfrm flipV="1">
            <a:off x="5000737" y="5315405"/>
            <a:ext cx="3321628" cy="17374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cxnSpLocks/>
          </p:cNvCxnSpPr>
          <p:nvPr/>
        </p:nvCxnSpPr>
        <p:spPr>
          <a:xfrm>
            <a:off x="7667737" y="5324092"/>
            <a:ext cx="3564775" cy="0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cxnSpLocks/>
          </p:cNvCxnSpPr>
          <p:nvPr/>
        </p:nvCxnSpPr>
        <p:spPr>
          <a:xfrm>
            <a:off x="605249" y="5332779"/>
            <a:ext cx="505412" cy="0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9491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250"/>
                            </p:stCondLst>
                            <p:childTnLst>
                              <p:par>
                                <p:cTn id="20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 build="p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atrix for confidential data</a:t>
            </a:r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/>
          </p:nvPr>
        </p:nvGraphicFramePr>
        <p:xfrm>
          <a:off x="1554480" y="1517690"/>
          <a:ext cx="9289322" cy="487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9977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155739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310692">
                  <a:extLst>
                    <a:ext uri="{9D8B030D-6E8A-4147-A177-3AD203B41FA5}">
                      <a16:colId xmlns:a16="http://schemas.microsoft.com/office/drawing/2014/main" val="1204206316"/>
                    </a:ext>
                  </a:extLst>
                </a:gridCol>
                <a:gridCol w="1679037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77973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804147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ensus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JoSuA</a:t>
                      </a:r>
                      <a:r>
                        <a:rPr lang="en-US" dirty="0"/>
                        <a:t>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Smaller 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(software, whitelist commands)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Extra Full (custom-built hardware)</a:t>
                      </a: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r>
                        <a:rPr lang="en-US" sz="16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university office, EU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Stat.Denmark</a:t>
                      </a:r>
                      <a:br>
                        <a:rPr lang="en-US" dirty="0"/>
                      </a:br>
                      <a:r>
                        <a:rPr lang="en-US" dirty="0"/>
                        <a:t>(typical EU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- 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 -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ome </a:t>
                      </a:r>
                      <a:b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(choice of software)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702666"/>
                  </a:ext>
                </a:extLst>
              </a:tr>
            </a:tbl>
          </a:graphicData>
        </a:graphic>
      </p:graphicFrame>
      <p:graphicFrame>
        <p:nvGraphicFramePr>
          <p:cNvPr id="5" name="Content Placeholder 3"/>
          <p:cNvGraphicFramePr>
            <a:graphicFrameLocks/>
          </p:cNvGraphicFramePr>
          <p:nvPr>
            <p:extLst/>
          </p:nvPr>
        </p:nvGraphicFramePr>
        <p:xfrm>
          <a:off x="1554480" y="1512201"/>
          <a:ext cx="7978630" cy="487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9977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155739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679037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77973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804147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ensus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JoSuA</a:t>
                      </a:r>
                      <a:r>
                        <a:rPr lang="en-US" dirty="0"/>
                        <a:t>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Smaller 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(software, whitelist commands)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Extra Full (custom-built hardware)</a:t>
                      </a: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r>
                        <a:rPr lang="en-US" sz="16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university office, EU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Stat.Denmark</a:t>
                      </a:r>
                      <a:br>
                        <a:rPr lang="en-US" dirty="0"/>
                      </a:br>
                      <a:r>
                        <a:rPr lang="en-US" dirty="0"/>
                        <a:t>(typical EU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- 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 -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ome </a:t>
                      </a:r>
                      <a:b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(choice of software)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702666"/>
                  </a:ext>
                </a:extLst>
              </a:tr>
            </a:tbl>
          </a:graphicData>
        </a:graphic>
      </p:graphicFrame>
      <p:graphicFrame>
        <p:nvGraphicFramePr>
          <p:cNvPr id="6" name="Content Placeholder 3"/>
          <p:cNvGraphicFramePr>
            <a:graphicFrameLocks/>
          </p:cNvGraphicFramePr>
          <p:nvPr>
            <p:extLst/>
          </p:nvPr>
        </p:nvGraphicFramePr>
        <p:xfrm>
          <a:off x="1554480" y="1512201"/>
          <a:ext cx="9289322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1290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097442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594344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689958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713144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  <a:gridCol w="1713144">
                  <a:extLst>
                    <a:ext uri="{9D8B030D-6E8A-4147-A177-3AD203B41FA5}">
                      <a16:colId xmlns:a16="http://schemas.microsoft.com/office/drawing/2014/main" val="177913454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anual/ variety</a:t>
                      </a:r>
                      <a:r>
                        <a:rPr lang="en-US" b="1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of rules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ensus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Manual/ self/ variety of ru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JoSuA</a:t>
                      </a:r>
                      <a:r>
                        <a:rPr lang="en-US" dirty="0"/>
                        <a:t>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Smaller 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(software, whitelist commands)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anual/ variety</a:t>
                      </a:r>
                      <a:r>
                        <a:rPr lang="en-US" b="1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of rules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Extra Full (custom-built hardware)</a:t>
                      </a: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r>
                        <a:rPr lang="en-US" sz="16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university office, EU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anual/ variety</a:t>
                      </a:r>
                      <a:r>
                        <a:rPr lang="en-US" b="1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of rul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rgbClr val="FF0000"/>
                          </a:solidFill>
                        </a:rPr>
                        <a:t>€300/ pack of 10</a:t>
                      </a:r>
                      <a:endParaRPr lang="en-US" sz="14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Stat.Denmark</a:t>
                      </a:r>
                      <a:br>
                        <a:rPr lang="en-US" dirty="0"/>
                      </a:br>
                      <a:r>
                        <a:rPr lang="en-US" dirty="0"/>
                        <a:t>(typical EU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- 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 -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ome </a:t>
                      </a:r>
                      <a:b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(choice of software)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Manual/ self/ variety of ru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702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448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 53"/>
          <p:cNvSpPr/>
          <p:nvPr/>
        </p:nvSpPr>
        <p:spPr>
          <a:xfrm>
            <a:off x="5943600" y="1521229"/>
            <a:ext cx="2679846" cy="3832167"/>
          </a:xfrm>
          <a:custGeom>
            <a:avLst/>
            <a:gdLst>
              <a:gd name="connsiteX0" fmla="*/ 0 w 2791340"/>
              <a:gd name="connsiteY0" fmla="*/ 0 h 3790603"/>
              <a:gd name="connsiteX1" fmla="*/ 2568633 w 2791340"/>
              <a:gd name="connsiteY1" fmla="*/ 1288472 h 3790603"/>
              <a:gd name="connsiteX2" fmla="*/ 2668385 w 2791340"/>
              <a:gd name="connsiteY2" fmla="*/ 3790603 h 3790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91340" h="3790603">
                <a:moveTo>
                  <a:pt x="0" y="0"/>
                </a:moveTo>
                <a:cubicBezTo>
                  <a:pt x="1061951" y="328352"/>
                  <a:pt x="2123902" y="656705"/>
                  <a:pt x="2568633" y="1288472"/>
                </a:cubicBezTo>
                <a:cubicBezTo>
                  <a:pt x="3013364" y="1920239"/>
                  <a:pt x="2651760" y="3610494"/>
                  <a:pt x="2668385" y="3790603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Freeform 54"/>
          <p:cNvSpPr/>
          <p:nvPr/>
        </p:nvSpPr>
        <p:spPr>
          <a:xfrm>
            <a:off x="7689906" y="1496290"/>
            <a:ext cx="1138844" cy="3798917"/>
          </a:xfrm>
          <a:custGeom>
            <a:avLst/>
            <a:gdLst>
              <a:gd name="connsiteX0" fmla="*/ 0 w 1138844"/>
              <a:gd name="connsiteY0" fmla="*/ 0 h 3798917"/>
              <a:gd name="connsiteX1" fmla="*/ 864524 w 1138844"/>
              <a:gd name="connsiteY1" fmla="*/ 1205346 h 3798917"/>
              <a:gd name="connsiteX2" fmla="*/ 1138844 w 1138844"/>
              <a:gd name="connsiteY2" fmla="*/ 3798917 h 3798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8844" h="3798917">
                <a:moveTo>
                  <a:pt x="0" y="0"/>
                </a:moveTo>
                <a:cubicBezTo>
                  <a:pt x="337358" y="286096"/>
                  <a:pt x="674717" y="572193"/>
                  <a:pt x="864524" y="1205346"/>
                </a:cubicBezTo>
                <a:cubicBezTo>
                  <a:pt x="1054331" y="1838499"/>
                  <a:pt x="1070957" y="3427615"/>
                  <a:pt x="1138844" y="3798917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/>
          <p:cNvCxnSpPr/>
          <p:nvPr/>
        </p:nvCxnSpPr>
        <p:spPr>
          <a:xfrm>
            <a:off x="3815542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4893810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/>
          <p:cNvGrpSpPr/>
          <p:nvPr/>
        </p:nvGrpSpPr>
        <p:grpSpPr>
          <a:xfrm>
            <a:off x="2882764" y="1837112"/>
            <a:ext cx="2976105" cy="525201"/>
            <a:chOff x="2325707" y="3228336"/>
            <a:chExt cx="2252092" cy="369332"/>
          </a:xfrm>
        </p:grpSpPr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325707" y="3259824"/>
              <a:ext cx="326752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748999" y="3228336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ulatio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ethods: remote tabulation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742950" y="1521230"/>
            <a:ext cx="8492490" cy="4603774"/>
            <a:chOff x="742950" y="2968488"/>
            <a:chExt cx="6426476" cy="3237467"/>
          </a:xfrm>
        </p:grpSpPr>
        <p:cxnSp>
          <p:nvCxnSpPr>
            <p:cNvPr id="4" name="Straight Arrow Connector 3"/>
            <p:cNvCxnSpPr/>
            <p:nvPr/>
          </p:nvCxnSpPr>
          <p:spPr>
            <a:xfrm flipV="1">
              <a:off x="2186609" y="2968488"/>
              <a:ext cx="33131" cy="2782955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2186609" y="5751443"/>
              <a:ext cx="4982817" cy="1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002432" y="5751442"/>
              <a:ext cx="1770153" cy="454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/>
            </a:p>
            <a:p>
              <a:r>
                <a:rPr lang="en-US" dirty="0"/>
                <a:t>← Loss of detail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42950" y="4175300"/>
              <a:ext cx="1619250" cy="2597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ase of use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8623447" y="2433885"/>
            <a:ext cx="2730353" cy="804010"/>
            <a:chOff x="6582284" y="3720418"/>
            <a:chExt cx="2066125" cy="565396"/>
          </a:xfrm>
        </p:grpSpPr>
        <p:sp>
          <p:nvSpPr>
            <p:cNvPr id="28" name="Rectangle 27"/>
            <p:cNvSpPr/>
            <p:nvPr/>
          </p:nvSpPr>
          <p:spPr>
            <a:xfrm>
              <a:off x="6582284" y="3720418"/>
              <a:ext cx="362968" cy="565396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945252" y="3818450"/>
              <a:ext cx="17031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Raw microdata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2836465" y="1859358"/>
            <a:ext cx="2789797" cy="525201"/>
            <a:chOff x="2279408" y="3250582"/>
            <a:chExt cx="2111108" cy="369332"/>
          </a:xfrm>
        </p:grpSpPr>
        <p:sp>
          <p:nvSpPr>
            <p:cNvPr id="38" name="Rectangle 37"/>
            <p:cNvSpPr/>
            <p:nvPr/>
          </p:nvSpPr>
          <p:spPr>
            <a:xfrm>
              <a:off x="2279408" y="3250582"/>
              <a:ext cx="326752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>
              <a:spLocks noChangeAspect="1"/>
            </p:cNvSpPr>
            <p:nvPr/>
          </p:nvSpPr>
          <p:spPr>
            <a:xfrm>
              <a:off x="2325707" y="3254111"/>
              <a:ext cx="2064809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abulations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2882764" y="2365497"/>
            <a:ext cx="4204479" cy="898208"/>
            <a:chOff x="2325707" y="3654176"/>
            <a:chExt cx="3181633" cy="631638"/>
          </a:xfrm>
        </p:grpSpPr>
        <p:sp>
          <p:nvSpPr>
            <p:cNvPr id="25" name="Oval 24"/>
            <p:cNvSpPr>
              <a:spLocks noChangeAspect="1"/>
            </p:cNvSpPr>
            <p:nvPr/>
          </p:nvSpPr>
          <p:spPr>
            <a:xfrm>
              <a:off x="3155030" y="3720418"/>
              <a:ext cx="2352310" cy="56539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Public-use microdata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2325707" y="3654176"/>
              <a:ext cx="598977" cy="3733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Rectangle 2"/>
          <p:cNvSpPr/>
          <p:nvPr/>
        </p:nvSpPr>
        <p:spPr>
          <a:xfrm>
            <a:off x="2836464" y="1668039"/>
            <a:ext cx="7903579" cy="202281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7135029" y="3436754"/>
            <a:ext cx="1323266" cy="58845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n cli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7135029" y="4802871"/>
            <a:ext cx="1323266" cy="54562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DC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135029" y="2914049"/>
            <a:ext cx="1323266" cy="50731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desktop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135029" y="4025213"/>
            <a:ext cx="1323266" cy="77765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execution</a:t>
            </a:r>
          </a:p>
        </p:txBody>
      </p:sp>
      <p:sp>
        <p:nvSpPr>
          <p:cNvPr id="41" name="Rectangle 40"/>
          <p:cNvSpPr/>
          <p:nvPr/>
        </p:nvSpPr>
        <p:spPr>
          <a:xfrm>
            <a:off x="4317880" y="2265773"/>
            <a:ext cx="1323266" cy="777657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tabulation</a:t>
            </a:r>
          </a:p>
        </p:txBody>
      </p:sp>
      <p:sp>
        <p:nvSpPr>
          <p:cNvPr id="43" name="Rectangle 42"/>
          <p:cNvSpPr/>
          <p:nvPr/>
        </p:nvSpPr>
        <p:spPr>
          <a:xfrm>
            <a:off x="7111131" y="2343505"/>
            <a:ext cx="1378215" cy="3123451"/>
          </a:xfrm>
          <a:prstGeom prst="rect">
            <a:avLst/>
          </a:prstGeom>
          <a:solidFill>
            <a:schemeClr val="bg1"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935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6" presetClass="path" presetSubtype="0" accel="25000" decel="25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2.96296E-6 L -3.33333E-6 0.10671 C -3.33333E-6 0.15393 0.01459 0.21365 0.02644 0.21365 L 0.05313 0.21365 " pathEditMode="relative" rAng="0" ptsTypes="AAAA">
                                      <p:cBhvr>
                                        <p:cTn id="6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6" y="1067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 53"/>
          <p:cNvSpPr/>
          <p:nvPr/>
        </p:nvSpPr>
        <p:spPr>
          <a:xfrm>
            <a:off x="5943600" y="1521229"/>
            <a:ext cx="2679846" cy="3832167"/>
          </a:xfrm>
          <a:custGeom>
            <a:avLst/>
            <a:gdLst>
              <a:gd name="connsiteX0" fmla="*/ 0 w 2791340"/>
              <a:gd name="connsiteY0" fmla="*/ 0 h 3790603"/>
              <a:gd name="connsiteX1" fmla="*/ 2568633 w 2791340"/>
              <a:gd name="connsiteY1" fmla="*/ 1288472 h 3790603"/>
              <a:gd name="connsiteX2" fmla="*/ 2668385 w 2791340"/>
              <a:gd name="connsiteY2" fmla="*/ 3790603 h 3790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91340" h="3790603">
                <a:moveTo>
                  <a:pt x="0" y="0"/>
                </a:moveTo>
                <a:cubicBezTo>
                  <a:pt x="1061951" y="328352"/>
                  <a:pt x="2123902" y="656705"/>
                  <a:pt x="2568633" y="1288472"/>
                </a:cubicBezTo>
                <a:cubicBezTo>
                  <a:pt x="3013364" y="1920239"/>
                  <a:pt x="2651760" y="3610494"/>
                  <a:pt x="2668385" y="3790603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Freeform 54"/>
          <p:cNvSpPr/>
          <p:nvPr/>
        </p:nvSpPr>
        <p:spPr>
          <a:xfrm>
            <a:off x="7689906" y="1496290"/>
            <a:ext cx="1138844" cy="3798917"/>
          </a:xfrm>
          <a:custGeom>
            <a:avLst/>
            <a:gdLst>
              <a:gd name="connsiteX0" fmla="*/ 0 w 1138844"/>
              <a:gd name="connsiteY0" fmla="*/ 0 h 3798917"/>
              <a:gd name="connsiteX1" fmla="*/ 864524 w 1138844"/>
              <a:gd name="connsiteY1" fmla="*/ 1205346 h 3798917"/>
              <a:gd name="connsiteX2" fmla="*/ 1138844 w 1138844"/>
              <a:gd name="connsiteY2" fmla="*/ 3798917 h 3798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8844" h="3798917">
                <a:moveTo>
                  <a:pt x="0" y="0"/>
                </a:moveTo>
                <a:cubicBezTo>
                  <a:pt x="337358" y="286096"/>
                  <a:pt x="674717" y="572193"/>
                  <a:pt x="864524" y="1205346"/>
                </a:cubicBezTo>
                <a:cubicBezTo>
                  <a:pt x="1054331" y="1838499"/>
                  <a:pt x="1070957" y="3427615"/>
                  <a:pt x="1138844" y="3798917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/>
          <p:cNvCxnSpPr/>
          <p:nvPr/>
        </p:nvCxnSpPr>
        <p:spPr>
          <a:xfrm>
            <a:off x="3815542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4893810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/>
          <p:cNvGrpSpPr/>
          <p:nvPr/>
        </p:nvGrpSpPr>
        <p:grpSpPr>
          <a:xfrm>
            <a:off x="2882764" y="1837112"/>
            <a:ext cx="2976105" cy="525201"/>
            <a:chOff x="2325707" y="3228336"/>
            <a:chExt cx="2252092" cy="369332"/>
          </a:xfrm>
        </p:grpSpPr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325707" y="3259824"/>
              <a:ext cx="326752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748999" y="3228336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ulatio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ethods: remote tabulation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742950" y="1521230"/>
            <a:ext cx="8492490" cy="4603774"/>
            <a:chOff x="742950" y="2968488"/>
            <a:chExt cx="6426476" cy="3237467"/>
          </a:xfrm>
        </p:grpSpPr>
        <p:cxnSp>
          <p:nvCxnSpPr>
            <p:cNvPr id="4" name="Straight Arrow Connector 3"/>
            <p:cNvCxnSpPr/>
            <p:nvPr/>
          </p:nvCxnSpPr>
          <p:spPr>
            <a:xfrm flipV="1">
              <a:off x="2186609" y="2968488"/>
              <a:ext cx="33131" cy="2782955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2186609" y="5751443"/>
              <a:ext cx="4982817" cy="1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002432" y="5751442"/>
              <a:ext cx="1770153" cy="454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/>
            </a:p>
            <a:p>
              <a:r>
                <a:rPr lang="en-US" dirty="0"/>
                <a:t>← Loss of detail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42950" y="4175300"/>
              <a:ext cx="1619250" cy="2597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ase of use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8623447" y="2433885"/>
            <a:ext cx="2730353" cy="804010"/>
            <a:chOff x="6582284" y="3720418"/>
            <a:chExt cx="2066125" cy="565396"/>
          </a:xfrm>
        </p:grpSpPr>
        <p:sp>
          <p:nvSpPr>
            <p:cNvPr id="28" name="Rectangle 27"/>
            <p:cNvSpPr/>
            <p:nvPr/>
          </p:nvSpPr>
          <p:spPr>
            <a:xfrm>
              <a:off x="6582284" y="3720418"/>
              <a:ext cx="362968" cy="565396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945252" y="3818450"/>
              <a:ext cx="17031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Raw microdata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2836465" y="1859358"/>
            <a:ext cx="2789797" cy="525201"/>
            <a:chOff x="2279408" y="3250582"/>
            <a:chExt cx="2111108" cy="369332"/>
          </a:xfrm>
        </p:grpSpPr>
        <p:sp>
          <p:nvSpPr>
            <p:cNvPr id="38" name="Rectangle 37"/>
            <p:cNvSpPr/>
            <p:nvPr/>
          </p:nvSpPr>
          <p:spPr>
            <a:xfrm>
              <a:off x="2279408" y="3250582"/>
              <a:ext cx="326752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>
              <a:spLocks noChangeAspect="1"/>
            </p:cNvSpPr>
            <p:nvPr/>
          </p:nvSpPr>
          <p:spPr>
            <a:xfrm>
              <a:off x="2325707" y="3254111"/>
              <a:ext cx="2064809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abulations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2882764" y="2365497"/>
            <a:ext cx="4204479" cy="898208"/>
            <a:chOff x="2325707" y="3654176"/>
            <a:chExt cx="3181633" cy="631638"/>
          </a:xfrm>
        </p:grpSpPr>
        <p:sp>
          <p:nvSpPr>
            <p:cNvPr id="25" name="Oval 24"/>
            <p:cNvSpPr>
              <a:spLocks noChangeAspect="1"/>
            </p:cNvSpPr>
            <p:nvPr/>
          </p:nvSpPr>
          <p:spPr>
            <a:xfrm>
              <a:off x="3155030" y="3720418"/>
              <a:ext cx="2352310" cy="56539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Public-use microdata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2325707" y="3654176"/>
              <a:ext cx="598977" cy="3733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Rectangle 2"/>
          <p:cNvSpPr/>
          <p:nvPr/>
        </p:nvSpPr>
        <p:spPr>
          <a:xfrm>
            <a:off x="2836464" y="1668039"/>
            <a:ext cx="7903579" cy="202281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7135029" y="3436754"/>
            <a:ext cx="1323266" cy="58845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n cli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7135029" y="4802871"/>
            <a:ext cx="1323266" cy="54562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DC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135029" y="2914049"/>
            <a:ext cx="1323266" cy="50731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desktop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135029" y="4025213"/>
            <a:ext cx="1323266" cy="77765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execution</a:t>
            </a:r>
          </a:p>
        </p:txBody>
      </p:sp>
      <p:sp>
        <p:nvSpPr>
          <p:cNvPr id="41" name="Rectangle 40"/>
          <p:cNvSpPr/>
          <p:nvPr/>
        </p:nvSpPr>
        <p:spPr>
          <a:xfrm>
            <a:off x="4999307" y="3788232"/>
            <a:ext cx="1323266" cy="777657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tabulation</a:t>
            </a:r>
          </a:p>
        </p:txBody>
      </p:sp>
      <p:sp>
        <p:nvSpPr>
          <p:cNvPr id="43" name="Rectangle 42"/>
          <p:cNvSpPr/>
          <p:nvPr/>
        </p:nvSpPr>
        <p:spPr>
          <a:xfrm>
            <a:off x="7111131" y="2343505"/>
            <a:ext cx="1378215" cy="3123451"/>
          </a:xfrm>
          <a:prstGeom prst="rect">
            <a:avLst/>
          </a:prstGeom>
          <a:solidFill>
            <a:schemeClr val="bg1"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4999306" y="3788232"/>
            <a:ext cx="1378215" cy="777657"/>
          </a:xfrm>
          <a:prstGeom prst="rect">
            <a:avLst/>
          </a:prstGeom>
          <a:solidFill>
            <a:schemeClr val="bg1"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29227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te processing paradigm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7761" y="2963069"/>
            <a:ext cx="2381250" cy="2076450"/>
          </a:xfrm>
        </p:spPr>
      </p:pic>
      <p:sp>
        <p:nvSpPr>
          <p:cNvPr id="8" name="Arrow: Left 7"/>
          <p:cNvSpPr/>
          <p:nvPr/>
        </p:nvSpPr>
        <p:spPr>
          <a:xfrm>
            <a:off x="6695444" y="3453148"/>
            <a:ext cx="1835558" cy="50837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9816" y="2375147"/>
            <a:ext cx="2333407" cy="266437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8893" y="1986455"/>
            <a:ext cx="2643287" cy="3216166"/>
          </a:xfrm>
          <a:prstGeom prst="rect">
            <a:avLst/>
          </a:prstGeom>
        </p:spPr>
      </p:pic>
      <p:sp>
        <p:nvSpPr>
          <p:cNvPr id="7" name="Arrow: Left 6"/>
          <p:cNvSpPr/>
          <p:nvPr/>
        </p:nvSpPr>
        <p:spPr>
          <a:xfrm>
            <a:off x="4502181" y="3453148"/>
            <a:ext cx="1835558" cy="50837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208" y="1874744"/>
            <a:ext cx="1468975" cy="115769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4001" y="1842040"/>
            <a:ext cx="1247182" cy="124718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1733" y="2684928"/>
            <a:ext cx="1281811" cy="1316366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6817" y="2593571"/>
            <a:ext cx="1366727" cy="1238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789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37" presetClass="path" presetSubtype="0" accel="50000" decel="5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125E-6 -3.7037E-6 L -0.12109 -0.21342 C -0.14622 -0.2618 -0.18411 -0.2875 -0.22382 -0.2875 C -0.26888 -0.2875 -0.30507 -0.2618 -0.33021 -0.21342 L -0.45104 -3.7037E-6 " pathEditMode="relative" rAng="0" ptsTypes="AAAAA">
                                      <p:cBhvr>
                                        <p:cTn id="2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552" y="-143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250"/>
                            </p:stCondLst>
                            <p:childTnLst>
                              <p:par>
                                <p:cTn id="26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0" presetClass="exit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250"/>
                            </p:stCondLst>
                            <p:childTnLst>
                              <p:par>
                                <p:cTn id="46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862 -0.11088 L 0.14193 -0.26667 C 0.16745 -0.30208 0.20599 -0.32083 0.24649 -0.32083 C 0.29245 -0.32083 0.32943 -0.30208 0.35495 -0.26667 L 0.47839 -0.11088 " pathEditMode="relative" rAng="0" ptsTypes="AAAAA">
                                      <p:cBhvr>
                                        <p:cTn id="4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982" y="-1050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7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te processing paradigm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7761" y="2963069"/>
            <a:ext cx="2381250" cy="2076450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9816" y="2375147"/>
            <a:ext cx="2333407" cy="266437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8893" y="1986455"/>
            <a:ext cx="2643287" cy="321616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208" y="1874744"/>
            <a:ext cx="1468975" cy="115769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852" y="2963069"/>
            <a:ext cx="2966195" cy="1978429"/>
          </a:xfrm>
          <a:prstGeom prst="rect">
            <a:avLst/>
          </a:prstGeom>
          <a:effectLst>
            <a:softEdge rad="50800"/>
          </a:effectLst>
        </p:spPr>
      </p:pic>
    </p:spTree>
    <p:extLst>
      <p:ext uri="{BB962C8B-B14F-4D97-AF65-F5344CB8AC3E}">
        <p14:creationId xmlns:p14="http://schemas.microsoft.com/office/powerpoint/2010/main" val="21621509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37" presetClass="path" presetSubtype="0" accel="50000" decel="5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125E-6 -3.7037E-6 L -0.12109 -0.21342 C -0.14622 -0.2618 -0.18411 -0.2875 -0.22382 -0.2875 C -0.26888 -0.2875 -0.30507 -0.2618 -0.33021 -0.21342 L -0.45104 -3.7037E-6 " pathEditMode="relative" rAng="0" ptsTypes="AAAAA">
                                      <p:cBhvr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552" y="-143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250"/>
                            </p:stCondLst>
                            <p:childTnLst>
                              <p:par>
                                <p:cTn id="18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atrix for remote submission</a:t>
            </a:r>
          </a:p>
        </p:txBody>
      </p:sp>
      <p:graphicFrame>
        <p:nvGraphicFramePr>
          <p:cNvPr id="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8087266"/>
              </p:ext>
            </p:extLst>
          </p:nvPr>
        </p:nvGraphicFramePr>
        <p:xfrm>
          <a:off x="1554480" y="1517690"/>
          <a:ext cx="9459885" cy="448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4720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522693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61401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2296033466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41357974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u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avoid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CB</a:t>
                      </a:r>
                      <a:r>
                        <a:rPr lang="en-US" dirty="0"/>
                        <a:t>:</a:t>
                      </a:r>
                      <a:r>
                        <a:rPr lang="en-US" baseline="0" dirty="0"/>
                        <a:t> Synthetic dat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Custom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sz="1600" b="1" baseline="0" dirty="0">
                          <a:solidFill>
                            <a:schemeClr val="accent2"/>
                          </a:solidFill>
                        </a:rPr>
                        <a:t>compute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sz="2000" b="1" baseline="0" dirty="0">
                          <a:solidFill>
                            <a:schemeClr val="accent2"/>
                          </a:solidFill>
                        </a:rPr>
                        <a:t>cluster</a:t>
                      </a:r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Simplified proposa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Any </a:t>
                      </a:r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(SAS, R Stata, </a:t>
                      </a:r>
                      <a:r>
                        <a:rPr lang="en-US" sz="1800" b="1" dirty="0" err="1">
                          <a:solidFill>
                            <a:srgbClr val="00B050"/>
                          </a:solidFill>
                        </a:rPr>
                        <a:t>Matlab</a:t>
                      </a:r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)</a:t>
                      </a:r>
                      <a:endParaRPr lang="en-US" sz="1400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Manual/ tradit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JoSuA</a:t>
                      </a:r>
                      <a:r>
                        <a:rPr lang="en-US" dirty="0"/>
                        <a:t>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Web ap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propos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Smaller </a:t>
                      </a: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(Stata, whitelist commands)</a:t>
                      </a:r>
                      <a:endParaRPr lang="en-US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Manual/ tradit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04944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ustralian </a:t>
                      </a:r>
                      <a:r>
                        <a:rPr lang="en-US" dirty="0" err="1"/>
                        <a:t>TableBuild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Web ap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Regist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Tables on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Embedded/</a:t>
                      </a:r>
                      <a:r>
                        <a:rPr lang="en-US" b="1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400" b="1" baseline="0" dirty="0">
                          <a:solidFill>
                            <a:schemeClr val="tx1"/>
                          </a:solidFill>
                        </a:rPr>
                        <a:t>tab. noise infusion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$0/ &gt;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63636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nada </a:t>
                      </a:r>
                      <a:r>
                        <a:rPr lang="en-US" dirty="0">
                          <a:hlinkClick r:id="rId3"/>
                        </a:rPr>
                        <a:t>RTR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Upload through</a:t>
                      </a:r>
                      <a:r>
                        <a:rPr lang="en-US" b="1" baseline="0" dirty="0">
                          <a:solidFill>
                            <a:srgbClr val="00B050"/>
                          </a:solidFill>
                        </a:rPr>
                        <a:t> Web</a:t>
                      </a: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Simplified proposal 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</a:rPr>
                        <a:t>+ license</a:t>
                      </a:r>
                      <a:endParaRPr lang="en-US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Smaller 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</a:rPr>
                        <a:t>(SAS, whitelist commands)</a:t>
                      </a:r>
                      <a:endParaRPr lang="en-US" sz="18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Automated controlled roun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50838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C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Upload through FT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proposal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Smaller 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</a:rPr>
                        <a:t>(SAS, whitelist commands)</a:t>
                      </a:r>
                      <a:endParaRPr lang="en-US" sz="18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Manual/ tradit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$750/</a:t>
                      </a:r>
                      <a:r>
                        <a:rPr lang="en-US" b="1" dirty="0" err="1">
                          <a:solidFill>
                            <a:schemeClr val="tx1"/>
                          </a:solidFill>
                        </a:rPr>
                        <a:t>mth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4043538"/>
                  </a:ext>
                </a:extLst>
              </a:tr>
            </a:tbl>
          </a:graphicData>
        </a:graphic>
      </p:graphicFrame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6058919"/>
              </p:ext>
            </p:extLst>
          </p:nvPr>
        </p:nvGraphicFramePr>
        <p:xfrm>
          <a:off x="1554480" y="1517690"/>
          <a:ext cx="9459885" cy="143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4720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522693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61401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2296033466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41357974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u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avoid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CB</a:t>
                      </a:r>
                      <a:r>
                        <a:rPr lang="en-US" dirty="0"/>
                        <a:t>:</a:t>
                      </a:r>
                      <a:r>
                        <a:rPr lang="en-US" baseline="0" dirty="0"/>
                        <a:t> MAS/AQ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Web ap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?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Smalles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(whitelist command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Embedded/ vario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</a:tbl>
          </a:graphicData>
        </a:graphic>
      </p:graphicFrame>
      <p:graphicFrame>
        <p:nvGraphicFramePr>
          <p:cNvPr id="7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05899790"/>
              </p:ext>
            </p:extLst>
          </p:nvPr>
        </p:nvGraphicFramePr>
        <p:xfrm>
          <a:off x="1554480" y="1517690"/>
          <a:ext cx="9459885" cy="1493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4720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522693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61401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2296033466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41357974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u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avoid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CB</a:t>
                      </a:r>
                      <a:r>
                        <a:rPr lang="en-US" dirty="0"/>
                        <a:t>:</a:t>
                      </a:r>
                      <a:r>
                        <a:rPr lang="en-US" baseline="0" dirty="0"/>
                        <a:t> Synthetic dat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Custom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sz="1600" b="1" baseline="0" dirty="0">
                          <a:solidFill>
                            <a:schemeClr val="accent2"/>
                          </a:solidFill>
                        </a:rPr>
                        <a:t>compute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sz="2000" b="1" baseline="0" dirty="0">
                          <a:solidFill>
                            <a:schemeClr val="accent2"/>
                          </a:solidFill>
                        </a:rPr>
                        <a:t>cluster</a:t>
                      </a:r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Simplified proposa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Any </a:t>
                      </a:r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(SAS, R Stata, </a:t>
                      </a:r>
                      <a:r>
                        <a:rPr lang="en-US" sz="1800" b="1" dirty="0" err="1">
                          <a:solidFill>
                            <a:srgbClr val="00B050"/>
                          </a:solidFill>
                        </a:rPr>
                        <a:t>Matlab</a:t>
                      </a:r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)</a:t>
                      </a:r>
                      <a:endParaRPr lang="en-US" sz="1400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Manual/ tradit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99655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ultimate remote submiss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3614" y="3447035"/>
            <a:ext cx="10515600" cy="4351338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/>
              <a:t>Co-author with an employee of stats agency…</a:t>
            </a:r>
          </a:p>
        </p:txBody>
      </p:sp>
    </p:spTree>
    <p:extLst>
      <p:ext uri="{BB962C8B-B14F-4D97-AF65-F5344CB8AC3E}">
        <p14:creationId xmlns:p14="http://schemas.microsoft.com/office/powerpoint/2010/main" val="21140974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te access setu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me setup required</a:t>
            </a:r>
          </a:p>
          <a:p>
            <a:pPr lvl="1"/>
            <a:r>
              <a:rPr lang="en-US" dirty="0"/>
              <a:t>IAB’s </a:t>
            </a:r>
            <a:r>
              <a:rPr lang="en-US" dirty="0" err="1"/>
              <a:t>JoSuA</a:t>
            </a:r>
            <a:r>
              <a:rPr lang="en-US" dirty="0"/>
              <a:t> starts with a regular “on-site” access</a:t>
            </a:r>
          </a:p>
          <a:p>
            <a:pPr lvl="1"/>
            <a:r>
              <a:rPr lang="en-US" dirty="0"/>
              <a:t>NCHS has a regular proposal process, billing is involved</a:t>
            </a:r>
          </a:p>
          <a:p>
            <a:pPr lvl="1"/>
            <a:r>
              <a:rPr lang="en-US" dirty="0" err="1"/>
              <a:t>StatCan’s</a:t>
            </a:r>
            <a:r>
              <a:rPr lang="en-US" dirty="0"/>
              <a:t> RTRA has a proposal process, review, etc.</a:t>
            </a:r>
          </a:p>
          <a:p>
            <a:r>
              <a:rPr lang="en-US" dirty="0"/>
              <a:t>Testing in order to process remotely</a:t>
            </a:r>
          </a:p>
          <a:p>
            <a:pPr lvl="1"/>
            <a:r>
              <a:rPr lang="en-US" dirty="0"/>
              <a:t>Dummy or test files (IAB)</a:t>
            </a:r>
          </a:p>
          <a:p>
            <a:pPr lvl="1"/>
            <a:r>
              <a:rPr lang="en-US" dirty="0"/>
              <a:t>“Synthetic” files (</a:t>
            </a:r>
            <a:r>
              <a:rPr lang="en-US" dirty="0" err="1"/>
              <a:t>StatCan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Pre-defined data dictionaries (NCHS)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04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thetic data and remote submiss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tatCan</a:t>
            </a:r>
            <a:r>
              <a:rPr lang="en-US" dirty="0"/>
              <a:t>: “synthetic” data = univariate draws, no analytic validity</a:t>
            </a:r>
          </a:p>
          <a:p>
            <a:pPr lvl="1"/>
            <a:r>
              <a:rPr lang="en-US" dirty="0"/>
              <a:t>IAB also creates these types of files, but calls them “test” files</a:t>
            </a:r>
          </a:p>
          <a:p>
            <a:r>
              <a:rPr lang="en-US" dirty="0"/>
              <a:t>Census Bureau: “synthetic data” = analytically valid, conditional on congeniality of the model</a:t>
            </a:r>
          </a:p>
          <a:p>
            <a:pPr lvl="1"/>
            <a:r>
              <a:rPr lang="en-US" dirty="0"/>
              <a:t>Model is “verbally” described, but not formally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72826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thetic data: verification mod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nder development (Reiter, </a:t>
            </a:r>
            <a:r>
              <a:rPr lang="en-US" dirty="0" err="1"/>
              <a:t>Machanavajjhala</a:t>
            </a:r>
            <a:r>
              <a:rPr lang="en-US" dirty="0"/>
              <a:t>)</a:t>
            </a:r>
          </a:p>
          <a:p>
            <a:r>
              <a:rPr lang="en-US" dirty="0"/>
              <a:t>Applied to OPM data</a:t>
            </a:r>
          </a:p>
          <a:p>
            <a:pPr lvl="1"/>
            <a:r>
              <a:rPr lang="en-US" dirty="0"/>
              <a:t>Researcher develops model on synthetic data</a:t>
            </a:r>
          </a:p>
          <a:p>
            <a:pPr lvl="1"/>
            <a:r>
              <a:rPr lang="en-US" dirty="0"/>
              <a:t>Assessment through submission of programs for “verification”</a:t>
            </a:r>
          </a:p>
          <a:p>
            <a:pPr lvl="1"/>
            <a:r>
              <a:rPr lang="en-US" dirty="0"/>
              <a:t>Researcher obtains (DP) indication of proximity to actual results</a:t>
            </a:r>
          </a:p>
          <a:p>
            <a:pPr lvl="1"/>
            <a:r>
              <a:rPr lang="en-US" dirty="0"/>
              <a:t>Restrictions on possible models (?)</a:t>
            </a:r>
          </a:p>
          <a:p>
            <a:r>
              <a:rPr lang="en-US" dirty="0"/>
              <a:t>Under development</a:t>
            </a:r>
          </a:p>
          <a:p>
            <a:pPr lvl="1"/>
            <a:r>
              <a:rPr lang="en-US" dirty="0"/>
              <a:t>Come back in April for NCRN workshop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8954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king data (more) accessibl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1064" y="2054711"/>
            <a:ext cx="3603811" cy="1077218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National Data Clearinghous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671074" y="2838015"/>
            <a:ext cx="3603811" cy="1077218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Federal Statistical Data Center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776805" y="4520005"/>
            <a:ext cx="3603811" cy="1569660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Commission on Evidence-based Policy</a:t>
            </a:r>
          </a:p>
        </p:txBody>
      </p:sp>
      <p:sp>
        <p:nvSpPr>
          <p:cNvPr id="7" name="Star: 5 Points 6"/>
          <p:cNvSpPr/>
          <p:nvPr/>
        </p:nvSpPr>
        <p:spPr>
          <a:xfrm>
            <a:off x="3090581" y="1968649"/>
            <a:ext cx="3517751" cy="3227294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solidFill>
                  <a:schemeClr val="tx1"/>
                </a:solidFill>
              </a:rPr>
              <a:t>NEW?</a:t>
            </a:r>
          </a:p>
        </p:txBody>
      </p:sp>
    </p:spTree>
    <p:extLst>
      <p:ext uri="{BB962C8B-B14F-4D97-AF65-F5344CB8AC3E}">
        <p14:creationId xmlns:p14="http://schemas.microsoft.com/office/powerpoint/2010/main" val="2208763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thetic data: validation mod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d for SIPP Synthetic Beta, Synthetic LBD</a:t>
            </a:r>
          </a:p>
          <a:p>
            <a:pPr lvl="1"/>
            <a:r>
              <a:rPr lang="en-US" dirty="0"/>
              <a:t>Researcher develops model on synthetic data</a:t>
            </a:r>
          </a:p>
          <a:p>
            <a:pPr lvl="1"/>
            <a:r>
              <a:rPr lang="en-US" dirty="0"/>
              <a:t>Assessment through submission of programs for “validation”</a:t>
            </a:r>
          </a:p>
          <a:p>
            <a:pPr lvl="1"/>
            <a:r>
              <a:rPr lang="en-US" dirty="0"/>
              <a:t>Researcher obtains actual results from model run on confidential data, subject to traditional disclosure avoidance rules</a:t>
            </a:r>
          </a:p>
          <a:p>
            <a:pPr lvl="1"/>
            <a:r>
              <a:rPr lang="en-US" dirty="0"/>
              <a:t>No restrictions on types of models</a:t>
            </a:r>
          </a:p>
          <a:p>
            <a:r>
              <a:rPr lang="en-US" dirty="0"/>
              <a:t>In progress since 2011</a:t>
            </a:r>
          </a:p>
          <a:p>
            <a:pPr lvl="1"/>
            <a:r>
              <a:rPr lang="en-US" dirty="0"/>
              <a:t>Approx. 200 users</a:t>
            </a:r>
          </a:p>
          <a:p>
            <a:pPr lvl="1"/>
            <a:r>
              <a:rPr lang="en-US" dirty="0"/>
              <a:t>Approx. 6-8% of users request validation</a:t>
            </a:r>
          </a:p>
          <a:p>
            <a:pPr lvl="1"/>
            <a:r>
              <a:rPr lang="en-US" dirty="0"/>
              <a:t>Some unknown fraction “self-validate” through full FSRDC project 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01677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results from Synthetic Data Ser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1567" y="1346407"/>
            <a:ext cx="7188865" cy="5309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77220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bout 6-8% request validation</a:t>
            </a:r>
          </a:p>
          <a:p>
            <a:r>
              <a:rPr lang="en-US" dirty="0"/>
              <a:t>Metric: confidence interval overlap </a:t>
            </a:r>
            <a:r>
              <a:rPr lang="en-US" dirty="0" err="1"/>
              <a:t>J</a:t>
            </a:r>
            <a:r>
              <a:rPr lang="en-US" baseline="-25000" dirty="0" err="1"/>
              <a:t>k</a:t>
            </a:r>
            <a:r>
              <a:rPr lang="en-US" baseline="-25000" dirty="0"/>
              <a:t> </a:t>
            </a:r>
            <a:r>
              <a:rPr lang="en-US" dirty="0"/>
              <a:t>(Karr et al, 2006)</a:t>
            </a:r>
            <a:endParaRPr lang="en-US" baseline="-25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2158" y="2920466"/>
            <a:ext cx="8696325" cy="19621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9592" y="4952517"/>
            <a:ext cx="3838575" cy="12668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8150" y="4967374"/>
            <a:ext cx="3695700" cy="14287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59592" y="4800644"/>
            <a:ext cx="3695700" cy="14859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7943849" y="4074753"/>
            <a:ext cx="1806979" cy="472309"/>
          </a:xfrm>
          <a:prstGeom prst="rect">
            <a:avLst/>
          </a:prstGeom>
          <a:solidFill>
            <a:schemeClr val="accent1">
              <a:alpha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4639541" y="4065543"/>
            <a:ext cx="1806979" cy="472309"/>
          </a:xfrm>
          <a:prstGeom prst="rect">
            <a:avLst/>
          </a:prstGeom>
          <a:solidFill>
            <a:srgbClr val="00B050">
              <a:alpha val="25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4135235" y="3398391"/>
            <a:ext cx="2697827" cy="447991"/>
          </a:xfrm>
          <a:prstGeom prst="rect">
            <a:avLst/>
          </a:prstGeom>
          <a:solidFill>
            <a:srgbClr val="FF0000">
              <a:alpha val="25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7498424" y="3412564"/>
            <a:ext cx="2697827" cy="447991"/>
          </a:xfrm>
          <a:prstGeom prst="rect">
            <a:avLst/>
          </a:prstGeom>
          <a:solidFill>
            <a:srgbClr val="FF0000">
              <a:alpha val="25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4159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results: </a:t>
            </a:r>
            <a:r>
              <a:rPr lang="en-US" dirty="0" err="1"/>
              <a:t>SynLBD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05012" y="2315369"/>
            <a:ext cx="8181975" cy="337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05923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illustrative example </a:t>
            </a:r>
            <a:r>
              <a:rPr lang="en-US" sz="4000" dirty="0"/>
              <a:t>(Bertrand et al, 2015)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2117076"/>
            <a:ext cx="5181600" cy="3768436"/>
          </a:xfrm>
        </p:spPr>
      </p:pic>
      <p:pic>
        <p:nvPicPr>
          <p:cNvPr id="7" name="Content Placeholder 6"/>
          <p:cNvPicPr>
            <a:picLocks noGrp="1" noChangeAspect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00" y="2117076"/>
            <a:ext cx="5181600" cy="3768436"/>
          </a:xfrm>
        </p:spPr>
      </p:pic>
    </p:spTree>
    <p:extLst>
      <p:ext uri="{BB962C8B-B14F-4D97-AF65-F5344CB8AC3E}">
        <p14:creationId xmlns:p14="http://schemas.microsoft.com/office/powerpoint/2010/main" val="3493165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results: SSB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3102732"/>
            <a:ext cx="10515600" cy="1797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7454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thetic data takeaway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llow for modelling on the level of public-use data</a:t>
            </a:r>
          </a:p>
          <a:p>
            <a:pPr lvl="1"/>
            <a:r>
              <a:rPr lang="en-US" dirty="0"/>
              <a:t>More sophisticated than the usual remote submission system</a:t>
            </a:r>
          </a:p>
          <a:p>
            <a:r>
              <a:rPr lang="en-US" dirty="0"/>
              <a:t>Allow for faster validation on  confidential data</a:t>
            </a:r>
          </a:p>
          <a:p>
            <a:pPr lvl="1"/>
            <a:r>
              <a:rPr lang="en-US" dirty="0"/>
              <a:t>Faster than RDC proposal process</a:t>
            </a:r>
          </a:p>
          <a:p>
            <a:r>
              <a:rPr lang="en-US" dirty="0"/>
              <a:t>Is limited in terms of analytic validity</a:t>
            </a:r>
          </a:p>
          <a:p>
            <a:pPr lvl="1"/>
            <a:r>
              <a:rPr lang="en-US" dirty="0"/>
              <a:t>But that may not be a bad thing</a:t>
            </a:r>
          </a:p>
          <a:p>
            <a:r>
              <a:rPr lang="en-US" dirty="0"/>
              <a:t>Can accelerate disclosure avoidance process</a:t>
            </a:r>
          </a:p>
          <a:p>
            <a:pPr lvl="1"/>
            <a:r>
              <a:rPr lang="en-US" dirty="0"/>
              <a:t>All tables that are to be released can be created beforehand</a:t>
            </a:r>
          </a:p>
          <a:p>
            <a:pPr lvl="1"/>
            <a:r>
              <a:rPr lang="en-US" dirty="0"/>
              <a:t>In theory…</a:t>
            </a:r>
          </a:p>
        </p:txBody>
      </p:sp>
    </p:spTree>
    <p:extLst>
      <p:ext uri="{BB962C8B-B14F-4D97-AF65-F5344CB8AC3E}">
        <p14:creationId xmlns:p14="http://schemas.microsoft.com/office/powerpoint/2010/main" val="2282421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 bldLvl="2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atrix for confidential data</a:t>
            </a:r>
          </a:p>
        </p:txBody>
      </p:sp>
      <p:graphicFrame>
        <p:nvGraphicFramePr>
          <p:cNvPr id="6" name="Content Placeholder 3"/>
          <p:cNvGraphicFramePr>
            <a:graphicFrameLocks/>
          </p:cNvGraphicFramePr>
          <p:nvPr>
            <p:extLst/>
          </p:nvPr>
        </p:nvGraphicFramePr>
        <p:xfrm>
          <a:off x="1554480" y="1512201"/>
          <a:ext cx="9289322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1290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097442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594344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689958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713144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  <a:gridCol w="1713144">
                  <a:extLst>
                    <a:ext uri="{9D8B030D-6E8A-4147-A177-3AD203B41FA5}">
                      <a16:colId xmlns:a16="http://schemas.microsoft.com/office/drawing/2014/main" val="177913454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anual/ variety</a:t>
                      </a:r>
                      <a:r>
                        <a:rPr lang="en-US" b="1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of rules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ensus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Manual/ self/ variety of ru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JoSuA</a:t>
                      </a:r>
                      <a:r>
                        <a:rPr lang="en-US" dirty="0"/>
                        <a:t>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Smaller 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(software, whitelist commands)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anual/ variety</a:t>
                      </a:r>
                      <a:r>
                        <a:rPr lang="en-US" b="1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of rules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Extra Full (custom-built hardware)</a:t>
                      </a: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r>
                        <a:rPr lang="en-US" sz="16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university office, EU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anual/ variety</a:t>
                      </a:r>
                      <a:r>
                        <a:rPr lang="en-US" b="1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of rul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rgbClr val="FF0000"/>
                          </a:solidFill>
                        </a:rPr>
                        <a:t>€300/ pack of 10</a:t>
                      </a:r>
                      <a:endParaRPr lang="en-US" sz="14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Stat.Denmark</a:t>
                      </a:r>
                      <a:br>
                        <a:rPr lang="en-US" dirty="0"/>
                      </a:br>
                      <a:r>
                        <a:rPr lang="en-US" dirty="0"/>
                        <a:t>(typical EU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- 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 -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ome </a:t>
                      </a:r>
                      <a:b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(choice of software)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Manual/ self/ variety of ru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702666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1388225" y="3682537"/>
            <a:ext cx="7747463" cy="1695797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1238596" y="5378335"/>
            <a:ext cx="9875520" cy="1238596"/>
          </a:xfrm>
          <a:prstGeom prst="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117912" y="2097577"/>
            <a:ext cx="8017776" cy="740187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238596" y="2837765"/>
            <a:ext cx="9725891" cy="844772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9135688" y="2097576"/>
            <a:ext cx="1708114" cy="653935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9135688" y="3804458"/>
            <a:ext cx="1708114" cy="1507374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1261381" y="2751513"/>
            <a:ext cx="9875520" cy="997527"/>
          </a:xfrm>
          <a:prstGeom prst="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9158473" y="2097575"/>
            <a:ext cx="1685329" cy="4652360"/>
          </a:xfrm>
          <a:prstGeom prst="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527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3" grpId="0" animBg="1"/>
      <p:bldP spid="8" grpId="0" animBg="1"/>
      <p:bldP spid="9" grpId="0" animBg="1"/>
      <p:bldP spid="9" grpId="1" animBg="1"/>
      <p:bldP spid="11" grpId="0" animBg="1"/>
      <p:bldP spid="11" grpId="1" animBg="1"/>
      <p:bldP spid="12" grpId="0" animBg="1"/>
      <p:bldP spid="12" grpId="1" animBg="1"/>
      <p:bldP spid="10" grpId="0" animBg="1"/>
      <p:bldP spid="10" grpId="1" animBg="1"/>
      <p:bldP spid="13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atrix for confidential data</a:t>
            </a:r>
          </a:p>
        </p:txBody>
      </p:sp>
      <p:graphicFrame>
        <p:nvGraphicFramePr>
          <p:cNvPr id="6" name="Content Placeholder 3"/>
          <p:cNvGraphicFramePr>
            <a:graphicFrameLocks/>
          </p:cNvGraphicFramePr>
          <p:nvPr>
            <p:extLst/>
          </p:nvPr>
        </p:nvGraphicFramePr>
        <p:xfrm>
          <a:off x="1554480" y="1512201"/>
          <a:ext cx="9289322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1290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097442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594344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689958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713144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  <a:gridCol w="1713144">
                  <a:extLst>
                    <a:ext uri="{9D8B030D-6E8A-4147-A177-3AD203B41FA5}">
                      <a16:colId xmlns:a16="http://schemas.microsoft.com/office/drawing/2014/main" val="177913454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anual/ variety</a:t>
                      </a:r>
                      <a:r>
                        <a:rPr lang="en-US" b="1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of rules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ensus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Manual/ self/ variety of ru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JoSuA</a:t>
                      </a:r>
                      <a:r>
                        <a:rPr lang="en-US" dirty="0"/>
                        <a:t>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Smaller 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(software, whitelist commands)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anual/ variety</a:t>
                      </a:r>
                      <a:r>
                        <a:rPr lang="en-US" b="1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of rules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Extra Full (custom-built hardware)</a:t>
                      </a: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r>
                        <a:rPr lang="en-US" sz="16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university office, EU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anual/ variety</a:t>
                      </a:r>
                      <a:r>
                        <a:rPr lang="en-US" b="1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of rul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rgbClr val="FF0000"/>
                          </a:solidFill>
                        </a:rPr>
                        <a:t>€300/ pack of 10</a:t>
                      </a:r>
                      <a:endParaRPr lang="en-US" sz="14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Stat.Denmark</a:t>
                      </a:r>
                      <a:br>
                        <a:rPr lang="en-US" dirty="0"/>
                      </a:br>
                      <a:r>
                        <a:rPr lang="en-US" dirty="0"/>
                        <a:t>(typical EU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- 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 -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ome </a:t>
                      </a:r>
                      <a:b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(choice of software)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Manual/ self/ variety of ru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702666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1388225" y="2779935"/>
            <a:ext cx="9455577" cy="1623041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117912" y="2097577"/>
            <a:ext cx="9725890" cy="740187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463039" y="5433752"/>
            <a:ext cx="9725891" cy="1091658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1388225" y="4402976"/>
            <a:ext cx="9875520" cy="1030776"/>
          </a:xfrm>
          <a:prstGeom prst="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1388225" y="5425081"/>
            <a:ext cx="9875520" cy="1116320"/>
          </a:xfrm>
          <a:prstGeom prst="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1388225" y="2097575"/>
            <a:ext cx="9800705" cy="673688"/>
          </a:xfrm>
          <a:prstGeom prst="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5669280" y="2011680"/>
            <a:ext cx="1787236" cy="4671753"/>
          </a:xfrm>
          <a:prstGeom prst="rect">
            <a:avLst/>
          </a:prstGeom>
          <a:noFill/>
          <a:ln w="635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667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8" grpId="1" animBg="1"/>
      <p:bldP spid="9" grpId="0" animBg="1"/>
      <p:bldP spid="9" grpId="1" animBg="1"/>
      <p:bldP spid="3" grpId="0" animBg="1"/>
      <p:bldP spid="10" grpId="0" animBg="1"/>
      <p:bldP spid="13" grpId="0" animBg="1"/>
      <p:bldP spid="14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ust and acces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59324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king data (more) accessibl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1064" y="2054711"/>
            <a:ext cx="3603811" cy="1077218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National Data Clearinghous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671074" y="2838015"/>
            <a:ext cx="3603811" cy="1077218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Federal Statistical Data Center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776805" y="4520005"/>
            <a:ext cx="3603811" cy="1569660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Commission on Evidence-based Policy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1064" y="2054711"/>
            <a:ext cx="3603811" cy="1077218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National Data </a:t>
            </a:r>
            <a:br>
              <a:rPr lang="en-US" sz="3200" b="1" dirty="0"/>
            </a:br>
            <a:r>
              <a:rPr lang="en-US" sz="3200" b="1" dirty="0"/>
              <a:t>Bank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735620" y="2257847"/>
            <a:ext cx="3738282" cy="3046988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“Recommendations on Availability of Federal Statistical Materials to Nongovernmental Research Workers”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78456" y="4238228"/>
            <a:ext cx="3811792" cy="2062103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Committee on the Preservation </a:t>
            </a:r>
            <a:br>
              <a:rPr lang="en-US" sz="3200" b="1" dirty="0"/>
            </a:br>
            <a:r>
              <a:rPr lang="en-US" sz="3200" b="1" dirty="0"/>
              <a:t>and Use of Economic Data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8937" y="2668054"/>
            <a:ext cx="5724414" cy="1534619"/>
          </a:xfrm>
          <a:prstGeom prst="rect">
            <a:avLst/>
          </a:prstGeom>
          <a:ln w="12700" cap="rnd">
            <a:solidFill>
              <a:schemeClr val="accent1"/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31802189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  <p:bldP spid="10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ust and acce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Frequent discussion</a:t>
            </a:r>
          </a:p>
          <a:p>
            <a:pPr lvl="1"/>
            <a:r>
              <a:rPr lang="en-US" dirty="0"/>
              <a:t>Security measures are for (malevolent) </a:t>
            </a:r>
            <a:r>
              <a:rPr lang="en-US" sz="3500" b="1" dirty="0">
                <a:solidFill>
                  <a:srgbClr val="FF0000"/>
                </a:solidFill>
              </a:rPr>
              <a:t>intruders</a:t>
            </a:r>
            <a:r>
              <a:rPr lang="en-US" dirty="0"/>
              <a:t>/opponents</a:t>
            </a:r>
          </a:p>
          <a:p>
            <a:pPr lvl="1"/>
            <a:r>
              <a:rPr lang="en-US" dirty="0"/>
              <a:t>Researchers are </a:t>
            </a:r>
            <a:r>
              <a:rPr lang="en-US" sz="3200" b="1" dirty="0">
                <a:solidFill>
                  <a:schemeClr val="accent1">
                    <a:lumMod val="75000"/>
                  </a:schemeClr>
                </a:solidFill>
              </a:rPr>
              <a:t>trusted</a:t>
            </a:r>
            <a:r>
              <a:rPr lang="en-US" dirty="0"/>
              <a:t> collaborators…</a:t>
            </a:r>
          </a:p>
          <a:p>
            <a:pPr lvl="1"/>
            <a:r>
              <a:rPr lang="en-US" dirty="0"/>
              <a:t>… who 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know</a:t>
            </a:r>
            <a:r>
              <a:rPr lang="en-US" dirty="0"/>
              <a:t> what they are doing</a:t>
            </a:r>
          </a:p>
          <a:p>
            <a:r>
              <a:rPr lang="en-US" dirty="0"/>
              <a:t>A corollary:</a:t>
            </a:r>
          </a:p>
          <a:p>
            <a:pPr lvl="1"/>
            <a:r>
              <a:rPr lang="en-US" dirty="0"/>
              <a:t>Protect against the </a:t>
            </a:r>
            <a:r>
              <a:rPr lang="en-US" dirty="0">
                <a:solidFill>
                  <a:srgbClr val="FF0000"/>
                </a:solidFill>
              </a:rPr>
              <a:t>bad</a:t>
            </a:r>
            <a:r>
              <a:rPr lang="en-US" dirty="0"/>
              <a:t> guys</a:t>
            </a:r>
          </a:p>
          <a:p>
            <a:pPr lvl="1"/>
            <a:r>
              <a:rPr lang="en-US" dirty="0"/>
              <a:t>But let the “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good</a:t>
            </a:r>
            <a:r>
              <a:rPr lang="en-US" dirty="0"/>
              <a:t>” guys do their thing</a:t>
            </a:r>
          </a:p>
          <a:p>
            <a:r>
              <a:rPr lang="en-US" dirty="0"/>
              <a:t>Examples:</a:t>
            </a:r>
          </a:p>
          <a:p>
            <a:pPr lvl="1"/>
            <a:r>
              <a:rPr lang="en-US" dirty="0"/>
              <a:t>Network-moderated access</a:t>
            </a:r>
          </a:p>
          <a:p>
            <a:pPr lvl="1"/>
            <a:r>
              <a:rPr lang="en-US" dirty="0"/>
              <a:t>Contracts with disclosure avoidance ru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807229" y="2967008"/>
            <a:ext cx="5677593" cy="1496927"/>
            <a:chOff x="3832167" y="2967008"/>
            <a:chExt cx="5652655" cy="1156105"/>
          </a:xfrm>
        </p:grpSpPr>
        <p:sp>
          <p:nvSpPr>
            <p:cNvPr id="4" name="TextBox 3"/>
            <p:cNvSpPr txBox="1"/>
            <p:nvPr/>
          </p:nvSpPr>
          <p:spPr>
            <a:xfrm>
              <a:off x="7124007" y="2967008"/>
              <a:ext cx="2360815" cy="92333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C00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Lucida Handwriting" panose="03010101010101010101" pitchFamily="66" charset="0"/>
                </a:rPr>
                <a:t>How do you know who the good guys are?</a:t>
              </a:r>
            </a:p>
          </p:txBody>
        </p:sp>
        <p:cxnSp>
          <p:nvCxnSpPr>
            <p:cNvPr id="6" name="Straight Arrow Connector 5"/>
            <p:cNvCxnSpPr/>
            <p:nvPr/>
          </p:nvCxnSpPr>
          <p:spPr>
            <a:xfrm flipH="1">
              <a:off x="3832167" y="3466407"/>
              <a:ext cx="3283528" cy="656706"/>
            </a:xfrm>
            <a:prstGeom prst="straightConnector1">
              <a:avLst/>
            </a:prstGeom>
            <a:ln w="44450">
              <a:solidFill>
                <a:srgbClr val="C0000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/>
          <p:cNvGrpSpPr/>
          <p:nvPr/>
        </p:nvGrpSpPr>
        <p:grpSpPr>
          <a:xfrm>
            <a:off x="5087389" y="4463935"/>
            <a:ext cx="5045825" cy="939338"/>
            <a:chOff x="5153891" y="4463935"/>
            <a:chExt cx="4979323" cy="677108"/>
          </a:xfrm>
        </p:grpSpPr>
        <p:sp>
          <p:nvSpPr>
            <p:cNvPr id="9" name="TextBox 8"/>
            <p:cNvSpPr txBox="1"/>
            <p:nvPr/>
          </p:nvSpPr>
          <p:spPr>
            <a:xfrm>
              <a:off x="7124007" y="4463935"/>
              <a:ext cx="3009207" cy="67710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Lucida Handwriting" panose="03010101010101010101" pitchFamily="66" charset="0"/>
                </a:rPr>
                <a:t>Also known as the “</a:t>
              </a:r>
              <a:r>
                <a:rPr lang="en-US" sz="2000" b="1" dirty="0">
                  <a:latin typeface="Lucida Handwriting" panose="03010101010101010101" pitchFamily="66" charset="0"/>
                </a:rPr>
                <a:t>old boys’ network</a:t>
              </a:r>
              <a:r>
                <a:rPr lang="en-US" dirty="0">
                  <a:latin typeface="Lucida Handwriting" panose="03010101010101010101" pitchFamily="66" charset="0"/>
                </a:rPr>
                <a:t>”</a:t>
              </a:r>
            </a:p>
          </p:txBody>
        </p:sp>
        <p:cxnSp>
          <p:nvCxnSpPr>
            <p:cNvPr id="11" name="Straight Arrow Connector 10"/>
            <p:cNvCxnSpPr/>
            <p:nvPr/>
          </p:nvCxnSpPr>
          <p:spPr>
            <a:xfrm flipH="1">
              <a:off x="5153891" y="4821382"/>
              <a:ext cx="1862051" cy="290945"/>
            </a:xfrm>
            <a:prstGeom prst="straightConnector1">
              <a:avLst/>
            </a:prstGeom>
            <a:ln w="44450">
              <a:solidFill>
                <a:srgbClr val="C0000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491022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3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ory: cul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ws set the ground rules</a:t>
            </a:r>
          </a:p>
          <a:p>
            <a:pPr lvl="1"/>
            <a:r>
              <a:rPr lang="en-US" dirty="0"/>
              <a:t>The way penalties and contracts are set up are important</a:t>
            </a:r>
          </a:p>
          <a:p>
            <a:r>
              <a:rPr lang="en-US" dirty="0"/>
              <a:t>Researchers and agencies create the communities in which these rules are applied and enforced</a:t>
            </a:r>
          </a:p>
          <a:p>
            <a:pPr lvl="1"/>
            <a:r>
              <a:rPr lang="en-US" dirty="0"/>
              <a:t>Training and “indoctrination”</a:t>
            </a:r>
          </a:p>
          <a:p>
            <a:pPr lvl="1"/>
            <a:r>
              <a:rPr lang="en-US" dirty="0"/>
              <a:t>Common forums</a:t>
            </a:r>
          </a:p>
          <a:p>
            <a:pPr lvl="1"/>
            <a:r>
              <a:rPr lang="en-US" dirty="0"/>
              <a:t>More or less tight binding of researchers into the community</a:t>
            </a:r>
          </a:p>
        </p:txBody>
      </p:sp>
    </p:spTree>
    <p:extLst>
      <p:ext uri="{BB962C8B-B14F-4D97-AF65-F5344CB8AC3E}">
        <p14:creationId xmlns:p14="http://schemas.microsoft.com/office/powerpoint/2010/main" val="341391551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nalti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47207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nalt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FSRDC and federal employee:</a:t>
            </a:r>
          </a:p>
          <a:p>
            <a:pPr lvl="1"/>
            <a:r>
              <a:rPr lang="en-US" dirty="0"/>
              <a:t>federal prison sentence of up to </a:t>
            </a: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five (5)</a:t>
            </a:r>
            <a:r>
              <a:rPr lang="en-US" dirty="0"/>
              <a:t> years, a fine of up to </a:t>
            </a:r>
            <a:r>
              <a:rPr lang="en-US" sz="3200" b="1" dirty="0">
                <a:solidFill>
                  <a:srgbClr val="FF0000"/>
                </a:solidFill>
              </a:rPr>
              <a:t>$250,000</a:t>
            </a:r>
            <a:r>
              <a:rPr lang="en-US" dirty="0"/>
              <a:t>, or both.</a:t>
            </a:r>
          </a:p>
          <a:p>
            <a:r>
              <a:rPr lang="en-US" dirty="0"/>
              <a:t>France:</a:t>
            </a:r>
          </a:p>
          <a:p>
            <a:pPr lvl="1"/>
            <a:r>
              <a:rPr lang="en-US" dirty="0"/>
              <a:t>prison sentence of up to </a:t>
            </a:r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one (1)</a:t>
            </a:r>
            <a:r>
              <a:rPr lang="en-US" dirty="0"/>
              <a:t> year, a fine of up to </a:t>
            </a:r>
            <a:r>
              <a:rPr lang="en-US" sz="2800" b="1" dirty="0">
                <a:solidFill>
                  <a:srgbClr val="FF0000"/>
                </a:solidFill>
              </a:rPr>
              <a:t>€15,000</a:t>
            </a:r>
            <a:r>
              <a:rPr lang="en-US" dirty="0"/>
              <a:t>, or both.</a:t>
            </a:r>
          </a:p>
          <a:p>
            <a:r>
              <a:rPr lang="en-US" dirty="0"/>
              <a:t>IAB:</a:t>
            </a:r>
          </a:p>
          <a:p>
            <a:pPr lvl="1"/>
            <a:r>
              <a:rPr lang="en-US" u="sng" dirty="0"/>
              <a:t>Loss of data access </a:t>
            </a:r>
            <a:r>
              <a:rPr lang="en-US" dirty="0"/>
              <a:t>for up to </a:t>
            </a: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two (2)</a:t>
            </a:r>
            <a:r>
              <a:rPr lang="en-US" dirty="0"/>
              <a:t> years for researcher and institution</a:t>
            </a:r>
          </a:p>
          <a:p>
            <a:pPr lvl="1"/>
            <a:r>
              <a:rPr lang="en-US" u="sng" dirty="0"/>
              <a:t>Contractual</a:t>
            </a:r>
            <a:r>
              <a:rPr lang="en-US" dirty="0"/>
              <a:t> penalty up to </a:t>
            </a:r>
            <a:r>
              <a:rPr lang="en-US" sz="3200" b="1" dirty="0">
                <a:solidFill>
                  <a:srgbClr val="FF0000"/>
                </a:solidFill>
              </a:rPr>
              <a:t>€60,000</a:t>
            </a:r>
            <a:r>
              <a:rPr lang="en-US" dirty="0"/>
              <a:t> paid by the </a:t>
            </a:r>
            <a:r>
              <a:rPr lang="en-US" b="1" dirty="0"/>
              <a:t>institution</a:t>
            </a:r>
            <a:endParaRPr lang="en-US" b="1" dirty="0">
              <a:solidFill>
                <a:srgbClr val="FF0000"/>
              </a:solidFill>
            </a:endParaRP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388225" y="2237173"/>
            <a:ext cx="9800705" cy="534090"/>
          </a:xfrm>
          <a:prstGeom prst="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7235301" y="4653377"/>
            <a:ext cx="3761051" cy="1019453"/>
          </a:xfrm>
          <a:prstGeom prst="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757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animBg="1"/>
      <p:bldP spid="5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nalt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enmark:</a:t>
            </a:r>
          </a:p>
          <a:p>
            <a:pPr lvl="1"/>
            <a:r>
              <a:rPr lang="en-US" dirty="0"/>
              <a:t>Researcher: </a:t>
            </a:r>
            <a:r>
              <a:rPr lang="en-US" u="sng" dirty="0"/>
              <a:t>Loss of data access </a:t>
            </a: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for life</a:t>
            </a:r>
            <a:r>
              <a:rPr lang="en-US" dirty="0"/>
              <a:t>, or up to </a:t>
            </a:r>
            <a:r>
              <a:rPr lang="en-US" sz="3000" b="1" dirty="0">
                <a:solidFill>
                  <a:schemeClr val="accent1">
                    <a:lumMod val="50000"/>
                  </a:schemeClr>
                </a:solidFill>
              </a:rPr>
              <a:t>three (3)</a:t>
            </a:r>
            <a:r>
              <a:rPr lang="en-US" dirty="0"/>
              <a:t> years for “minor breaches”</a:t>
            </a:r>
          </a:p>
          <a:p>
            <a:pPr lvl="1"/>
            <a:r>
              <a:rPr lang="en-US" b="1" u="sng" dirty="0"/>
              <a:t>Institution</a:t>
            </a:r>
            <a:r>
              <a:rPr lang="en-US" dirty="0"/>
              <a:t>: Loss of access for a positive but limited (undefined) period</a:t>
            </a:r>
          </a:p>
          <a:p>
            <a:pPr lvl="1"/>
            <a:r>
              <a:rPr lang="en-US" dirty="0"/>
              <a:t>No financial or penal penalt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689600" y="4508500"/>
            <a:ext cx="5664200" cy="923330"/>
          </a:xfrm>
          <a:prstGeom prst="rect">
            <a:avLst/>
          </a:prstGeom>
          <a:solidFill>
            <a:schemeClr val="bg1"/>
          </a:solidFill>
          <a:ln w="63500">
            <a:solidFill>
              <a:srgbClr val="B31B1B"/>
            </a:solidFill>
          </a:ln>
          <a:effectLst>
            <a:outerShdw blurRad="50800" dist="190500" dir="2700000" algn="tl" rotWithShape="0">
              <a:prstClr val="black">
                <a:alpha val="40000"/>
              </a:prstClr>
            </a:outerShdw>
            <a:softEdge rad="12700"/>
          </a:effectLst>
        </p:spPr>
        <p:txBody>
          <a:bodyPr wrap="square" rtlCol="0">
            <a:spAutoFit/>
          </a:bodyPr>
          <a:lstStyle/>
          <a:p>
            <a:r>
              <a:rPr lang="en-US" b="1" u="sng" dirty="0">
                <a:latin typeface="Comic Sans MS" panose="030F0702030302020204" pitchFamily="66" charset="0"/>
              </a:rPr>
              <a:t>Of Note</a:t>
            </a:r>
            <a:r>
              <a:rPr lang="en-US" dirty="0">
                <a:latin typeface="Comic Sans MS" panose="030F0702030302020204" pitchFamily="66" charset="0"/>
              </a:rPr>
              <a:t>: the FSRDC contract explicitly </a:t>
            </a:r>
            <a:r>
              <a:rPr lang="en-US" u="sng" dirty="0">
                <a:latin typeface="Comic Sans MS" panose="030F0702030302020204" pitchFamily="66" charset="0"/>
              </a:rPr>
              <a:t>excludes</a:t>
            </a:r>
            <a:r>
              <a:rPr lang="en-US" dirty="0">
                <a:latin typeface="Comic Sans MS" panose="030F0702030302020204" pitchFamily="66" charset="0"/>
              </a:rPr>
              <a:t> a responsibility of the university for the actions of its employees.</a:t>
            </a:r>
          </a:p>
        </p:txBody>
      </p:sp>
    </p:spTree>
    <p:extLst>
      <p:ext uri="{BB962C8B-B14F-4D97-AF65-F5344CB8AC3E}">
        <p14:creationId xmlns:p14="http://schemas.microsoft.com/office/powerpoint/2010/main" val="3283739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nalti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4400" dirty="0"/>
              <a:t>Note:</a:t>
            </a:r>
          </a:p>
          <a:p>
            <a:pPr marL="0" indent="0" algn="ctr">
              <a:buNone/>
            </a:pPr>
            <a:r>
              <a:rPr lang="en-US" dirty="0"/>
              <a:t>No system admits to ever having had to enforce the rules.</a:t>
            </a:r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(rumors and videos notwithstanding)</a:t>
            </a:r>
          </a:p>
        </p:txBody>
      </p:sp>
    </p:spTree>
    <p:extLst>
      <p:ext uri="{BB962C8B-B14F-4D97-AF65-F5344CB8AC3E}">
        <p14:creationId xmlns:p14="http://schemas.microsoft.com/office/powerpoint/2010/main" val="365793894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26924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hidden element: how is Disclosure Avoidance don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Most access methods:</a:t>
            </a:r>
          </a:p>
          <a:p>
            <a:pPr lvl="1"/>
            <a:r>
              <a:rPr lang="en-US" dirty="0"/>
              <a:t>Enforcing minimum count of entities in a statistic (coefficient, mean, </a:t>
            </a:r>
            <a:r>
              <a:rPr lang="en-US" dirty="0" err="1"/>
              <a:t>stddev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Prohibiting creation of tabular data (or making it very expensive)</a:t>
            </a:r>
          </a:p>
          <a:p>
            <a:pPr lvl="1"/>
            <a:r>
              <a:rPr lang="en-US" dirty="0"/>
              <a:t>(Vain) attempt at tracking overlapping releases</a:t>
            </a:r>
          </a:p>
          <a:p>
            <a:r>
              <a:rPr lang="en-US" dirty="0"/>
              <a:t>Automated systems</a:t>
            </a:r>
          </a:p>
          <a:p>
            <a:pPr lvl="1"/>
            <a:r>
              <a:rPr lang="en-US" dirty="0"/>
              <a:t>Tracking of cells, implementation of (randomized) rounding, suppression, (output) noise infusion (</a:t>
            </a:r>
            <a:r>
              <a:rPr lang="en-US" dirty="0" err="1"/>
              <a:t>StatCan</a:t>
            </a:r>
            <a:r>
              <a:rPr lang="en-US" dirty="0"/>
              <a:t>, ABS)</a:t>
            </a:r>
          </a:p>
          <a:p>
            <a:pPr lvl="1"/>
            <a:r>
              <a:rPr lang="en-US" dirty="0"/>
              <a:t>Similar in CB’s Microdata Analysis System/Automated Query System</a:t>
            </a:r>
          </a:p>
          <a:p>
            <a:r>
              <a:rPr lang="en-US" dirty="0"/>
              <a:t>Newer mechanisms</a:t>
            </a:r>
          </a:p>
          <a:p>
            <a:pPr lvl="1"/>
            <a:r>
              <a:rPr lang="en-US" dirty="0"/>
              <a:t>Noise infusion upon computation</a:t>
            </a:r>
          </a:p>
          <a:p>
            <a:pPr lvl="1"/>
            <a:r>
              <a:rPr lang="en-US" dirty="0"/>
              <a:t>Differentially-private output perturbation (of model-based statistics, incl. coefficients and expected counts)</a:t>
            </a:r>
          </a:p>
        </p:txBody>
      </p:sp>
    </p:spTree>
    <p:extLst>
      <p:ext uri="{BB962C8B-B14F-4D97-AF65-F5344CB8AC3E}">
        <p14:creationId xmlns:p14="http://schemas.microsoft.com/office/powerpoint/2010/main" val="277060414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dden cost: how to train the users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gramming</a:t>
            </a:r>
          </a:p>
          <a:p>
            <a:pPr lvl="1"/>
            <a:r>
              <a:rPr lang="en-US" dirty="0"/>
              <a:t>DP-safe programming is hard for computer scientists → lost cause with social scientists until incorporated into SAS, Stata, etc.</a:t>
            </a:r>
          </a:p>
          <a:p>
            <a:r>
              <a:rPr lang="en-US" dirty="0"/>
              <a:t>Tools</a:t>
            </a:r>
          </a:p>
          <a:p>
            <a:pPr lvl="1"/>
            <a:r>
              <a:rPr lang="en-US" dirty="0"/>
              <a:t>Mostly lacking (in all of the environments that I have experienced)</a:t>
            </a:r>
          </a:p>
          <a:p>
            <a:r>
              <a:rPr lang="en-US" dirty="0"/>
              <a:t>Concept</a:t>
            </a:r>
          </a:p>
          <a:p>
            <a:pPr lvl="1"/>
            <a:r>
              <a:rPr lang="en-US" dirty="0"/>
              <a:t>Researchers have a hard time understanding confidentiality constraints</a:t>
            </a:r>
          </a:p>
          <a:p>
            <a:pPr lvl="1"/>
            <a:r>
              <a:rPr lang="en-US" dirty="0"/>
              <a:t>Researchers have a hard time accepting confidentiality constraint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2174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from a survey of FSRDC us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urvey run in October 2015, 145 responde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414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Making data (more) accessibl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1064" y="2054711"/>
            <a:ext cx="3603811" cy="1077218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National Data </a:t>
            </a:r>
            <a:br>
              <a:rPr lang="en-US" sz="3200" b="1" dirty="0"/>
            </a:br>
            <a:r>
              <a:rPr lang="en-US" sz="3200" b="1" dirty="0"/>
              <a:t>Bank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735620" y="2257847"/>
            <a:ext cx="3738282" cy="3046988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“Recommendations on Availability of Federal Statistical Materials to Nongovernmental Research Workers”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78456" y="4238228"/>
            <a:ext cx="3811792" cy="2062103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Committee on the Preservation </a:t>
            </a:r>
            <a:br>
              <a:rPr lang="en-US" sz="3200" b="1" dirty="0"/>
            </a:br>
            <a:r>
              <a:rPr lang="en-US" sz="3200" b="1" dirty="0"/>
              <a:t>and Use of Economic Dat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554480" y="732812"/>
            <a:ext cx="7919422" cy="5539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3000" dirty="0">
                <a:latin typeface="Perpetua Titling MT" panose="02020502060505020804" pitchFamily="18" charset="0"/>
              </a:rPr>
              <a:t>Making data (more) accessib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84093" y="2116266"/>
            <a:ext cx="3517751" cy="95410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latin typeface="Perpetua Titling MT" panose="02020502060505020804" pitchFamily="18" charset="0"/>
              </a:rPr>
              <a:t>National Data </a:t>
            </a:r>
            <a:br>
              <a:rPr lang="en-US" sz="2800" dirty="0">
                <a:latin typeface="Perpetua Titling MT" panose="02020502060505020804" pitchFamily="18" charset="0"/>
              </a:rPr>
            </a:br>
            <a:r>
              <a:rPr lang="en-US" sz="2800" dirty="0">
                <a:latin typeface="Perpetua Titling MT" panose="02020502060505020804" pitchFamily="18" charset="0"/>
              </a:rPr>
              <a:t>Bank </a:t>
            </a:r>
            <a:r>
              <a:rPr lang="en-US" sz="1400" dirty="0">
                <a:latin typeface="Perpetua Titling MT" panose="02020502060505020804" pitchFamily="18" charset="0"/>
              </a:rPr>
              <a:t>(1965)</a:t>
            </a:r>
            <a:endParaRPr lang="en-US" sz="2800" dirty="0">
              <a:latin typeface="Perpetua Titling MT" panose="020205020605050208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802855" y="2376180"/>
            <a:ext cx="3603811" cy="28931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Perpetua Titling MT" panose="02020502060505020804" pitchFamily="18" charset="0"/>
              </a:rPr>
              <a:t>“</a:t>
            </a:r>
            <a:r>
              <a:rPr lang="en-US" sz="2500" dirty="0">
                <a:latin typeface="Perpetua Titling MT" panose="02020502060505020804" pitchFamily="18" charset="0"/>
              </a:rPr>
              <a:t>Recommendations on Availability of Federal Statistical Materials to Nongovernmental Research Workers</a:t>
            </a:r>
            <a:r>
              <a:rPr lang="en-US" sz="2400" dirty="0">
                <a:latin typeface="Perpetua Titling MT" panose="02020502060505020804" pitchFamily="18" charset="0"/>
              </a:rPr>
              <a:t>”</a:t>
            </a:r>
          </a:p>
          <a:p>
            <a:pPr algn="ctr"/>
            <a:r>
              <a:rPr lang="en-US" sz="1600" dirty="0">
                <a:latin typeface="Perpetua Titling MT" panose="02020502060505020804" pitchFamily="18" charset="0"/>
              </a:rPr>
              <a:t>(1959)</a:t>
            </a:r>
          </a:p>
          <a:p>
            <a:pPr algn="ctr"/>
            <a:endParaRPr lang="en-US" sz="1600" dirty="0">
              <a:latin typeface="Perpetua Titling MT" panose="02020502060505020804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82446" y="4253616"/>
            <a:ext cx="3603811" cy="20313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latin typeface="Perpetua Titling MT" panose="02020502060505020804" pitchFamily="18" charset="0"/>
              </a:rPr>
              <a:t>Committee on the Preservation and Use of Economic Data</a:t>
            </a:r>
          </a:p>
          <a:p>
            <a:pPr algn="ctr"/>
            <a:r>
              <a:rPr lang="en-US" sz="1400" dirty="0">
                <a:latin typeface="Perpetua Titling MT" panose="02020502060505020804" pitchFamily="18" charset="0"/>
              </a:rPr>
              <a:t>(1965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236824" y="6508376"/>
            <a:ext cx="35315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 err="1">
                <a:hlinkClick r:id="rId2"/>
              </a:rPr>
              <a:t>Src</a:t>
            </a:r>
            <a:r>
              <a:rPr lang="en-US" sz="800" dirty="0">
                <a:hlinkClick r:id="rId2"/>
              </a:rPr>
              <a:t>: Kraus (2011) https://www.census.gov/history/pdf/kraus-natdatacenter.pdf</a:t>
            </a:r>
            <a:r>
              <a:rPr lang="en-US" sz="800" dirty="0"/>
              <a:t> </a:t>
            </a:r>
          </a:p>
        </p:txBody>
      </p:sp>
      <p:sp>
        <p:nvSpPr>
          <p:cNvPr id="13" name="Star: 5 Points 6"/>
          <p:cNvSpPr/>
          <p:nvPr/>
        </p:nvSpPr>
        <p:spPr>
          <a:xfrm>
            <a:off x="3090581" y="1968649"/>
            <a:ext cx="3517751" cy="3227294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solidFill>
                  <a:schemeClr val="tx1"/>
                </a:solidFill>
              </a:rPr>
              <a:t>1959-1965</a:t>
            </a:r>
          </a:p>
        </p:txBody>
      </p:sp>
    </p:spTree>
    <p:extLst>
      <p:ext uri="{BB962C8B-B14F-4D97-AF65-F5344CB8AC3E}">
        <p14:creationId xmlns:p14="http://schemas.microsoft.com/office/powerpoint/2010/main" val="2050006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3" grpId="0" animBg="1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SRDC user experience: DA protoco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4360693"/>
            <a:ext cx="10515600" cy="1816269"/>
          </a:xfrm>
        </p:spPr>
        <p:txBody>
          <a:bodyPr/>
          <a:lstStyle/>
          <a:p>
            <a:r>
              <a:rPr lang="en-US" dirty="0"/>
              <a:t>39% no prior experience</a:t>
            </a:r>
          </a:p>
          <a:p>
            <a:r>
              <a:rPr lang="en-US" dirty="0"/>
              <a:t>30% some experience</a:t>
            </a:r>
          </a:p>
          <a:p>
            <a:r>
              <a:rPr lang="en-US" dirty="0"/>
              <a:t>31% quite familiar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745" y="1825625"/>
            <a:ext cx="11760510" cy="2535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038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SRDC user experience train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4592171"/>
            <a:ext cx="10515600" cy="1584791"/>
          </a:xfrm>
        </p:spPr>
        <p:txBody>
          <a:bodyPr/>
          <a:lstStyle/>
          <a:p>
            <a:r>
              <a:rPr lang="en-US" dirty="0"/>
              <a:t>14% disagree or strongly disagree</a:t>
            </a:r>
          </a:p>
          <a:p>
            <a:r>
              <a:rPr lang="en-US" dirty="0"/>
              <a:t>73% agree or strongly agree</a:t>
            </a:r>
          </a:p>
          <a:p>
            <a:r>
              <a:rPr lang="en-US" dirty="0"/>
              <a:t>13% do neither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209" y="1760048"/>
            <a:ext cx="11090262" cy="2923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083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from a survey of FSRDC us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isclosure avoidance:</a:t>
            </a:r>
          </a:p>
          <a:p>
            <a:pPr lvl="1"/>
            <a:r>
              <a:rPr lang="en-US" dirty="0"/>
              <a:t>Users (NCHS) complained that “Disclosure avoidance personnel declined to approve output because they were not familiar with the software” despite pre-approval of generic output. </a:t>
            </a:r>
          </a:p>
          <a:p>
            <a:pPr lvl="1"/>
            <a:r>
              <a:rPr lang="en-US" dirty="0"/>
              <a:t>Other users grudgingly acknowledged that they “cannot avoid disclosure review” (on a NCHS project)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90689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 content, method, and frequency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17965014"/>
              </p:ext>
            </p:extLst>
          </p:nvPr>
        </p:nvGraphicFramePr>
        <p:xfrm>
          <a:off x="838200" y="1825625"/>
          <a:ext cx="10515600" cy="281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2600">
                  <a:extLst>
                    <a:ext uri="{9D8B030D-6E8A-4147-A177-3AD203B41FA5}">
                      <a16:colId xmlns:a16="http://schemas.microsoft.com/office/drawing/2014/main" val="1270960243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85009341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2835726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041448794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174214765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939100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avoidance tool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728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a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s need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n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0042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IAB 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DF 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, other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93421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(Franc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 person (3h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4078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enma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DF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)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15882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930161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sible Conduct of Research (RCR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Course Introduction</a:t>
            </a:r>
          </a:p>
          <a:p>
            <a:r>
              <a:rPr lang="en-US" dirty="0"/>
              <a:t>Research Misconduct </a:t>
            </a:r>
          </a:p>
          <a:p>
            <a:r>
              <a:rPr lang="en-US" dirty="0"/>
              <a:t>Research Involving Human Subjects </a:t>
            </a:r>
          </a:p>
          <a:p>
            <a:r>
              <a:rPr lang="en-US" dirty="0"/>
              <a:t>Plagiarism </a:t>
            </a:r>
          </a:p>
          <a:p>
            <a:r>
              <a:rPr lang="en-US" dirty="0"/>
              <a:t>Authorship </a:t>
            </a:r>
          </a:p>
          <a:p>
            <a:r>
              <a:rPr lang="en-US" dirty="0"/>
              <a:t>Collaborative Research </a:t>
            </a:r>
          </a:p>
          <a:p>
            <a:r>
              <a:rPr lang="en-US" dirty="0"/>
              <a:t>Conflicts of Interest </a:t>
            </a:r>
          </a:p>
          <a:p>
            <a:r>
              <a:rPr lang="en-US" dirty="0"/>
              <a:t>Data Management </a:t>
            </a:r>
          </a:p>
          <a:p>
            <a:r>
              <a:rPr lang="en-US" dirty="0"/>
              <a:t>Mentoring </a:t>
            </a:r>
          </a:p>
          <a:p>
            <a:r>
              <a:rPr lang="en-US" dirty="0"/>
              <a:t>Peer Review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446520" y="1953260"/>
            <a:ext cx="3728720" cy="1938992"/>
          </a:xfrm>
          <a:prstGeom prst="rect">
            <a:avLst/>
          </a:prstGeom>
          <a:solidFill>
            <a:schemeClr val="bg1"/>
          </a:solidFill>
          <a:ln w="63500">
            <a:solidFill>
              <a:srgbClr val="B31B1B"/>
            </a:solidFill>
          </a:ln>
          <a:effectLst>
            <a:outerShdw blurRad="114300" dist="317500" dir="2700000" algn="tl" rotWithShape="0">
              <a:prstClr val="black">
                <a:alpha val="40000"/>
              </a:prstClr>
            </a:outerShdw>
            <a:softEdge rad="31750"/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latin typeface="Comic Sans MS" panose="030F0702030302020204" pitchFamily="66" charset="0"/>
              </a:rPr>
              <a:t>Approximately</a:t>
            </a:r>
            <a:br>
              <a:rPr lang="en-US" sz="4000" dirty="0">
                <a:latin typeface="Comic Sans MS" panose="030F0702030302020204" pitchFamily="66" charset="0"/>
              </a:rPr>
            </a:br>
            <a:r>
              <a:rPr lang="en-US" sz="4000" dirty="0">
                <a:latin typeface="Comic Sans MS" panose="030F0702030302020204" pitchFamily="66" charset="0"/>
              </a:rPr>
              <a:t>3</a:t>
            </a:r>
            <a:br>
              <a:rPr lang="en-US" sz="4000" dirty="0">
                <a:latin typeface="Comic Sans MS" panose="030F0702030302020204" pitchFamily="66" charset="0"/>
              </a:rPr>
            </a:br>
            <a:r>
              <a:rPr lang="en-US" sz="4000" dirty="0">
                <a:latin typeface="Comic Sans MS" panose="030F0702030302020204" pitchFamily="66" charset="0"/>
              </a:rPr>
              <a:t>hour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335520" y="3667760"/>
            <a:ext cx="3728720" cy="923330"/>
          </a:xfrm>
          <a:prstGeom prst="rect">
            <a:avLst/>
          </a:prstGeom>
          <a:solidFill>
            <a:schemeClr val="bg1"/>
          </a:solidFill>
          <a:ln w="63500">
            <a:solidFill>
              <a:srgbClr val="B31B1B"/>
            </a:solidFill>
          </a:ln>
          <a:effectLst>
            <a:outerShdw blurRad="114300" dist="317500" dir="2700000" algn="tl" rotWithShape="0">
              <a:prstClr val="black">
                <a:alpha val="40000"/>
              </a:prstClr>
            </a:outerShdw>
            <a:softEdge rad="31750"/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omic Sans MS" panose="030F0702030302020204" pitchFamily="66" charset="0"/>
              </a:rPr>
              <a:t>Note:</a:t>
            </a:r>
            <a:br>
              <a:rPr lang="en-US" dirty="0">
                <a:latin typeface="Comic Sans MS" panose="030F0702030302020204" pitchFamily="66" charset="0"/>
              </a:rPr>
            </a:br>
            <a:r>
              <a:rPr lang="en-US" dirty="0">
                <a:latin typeface="Comic Sans MS" panose="030F0702030302020204" pitchFamily="66" charset="0"/>
              </a:rPr>
              <a:t>No discussion of practical disclosure avoidance, etc.</a:t>
            </a:r>
          </a:p>
        </p:txBody>
      </p:sp>
    </p:spTree>
    <p:extLst>
      <p:ext uri="{BB962C8B-B14F-4D97-AF65-F5344CB8AC3E}">
        <p14:creationId xmlns:p14="http://schemas.microsoft.com/office/powerpoint/2010/main" val="3111176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ench train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ne-time initial training</a:t>
            </a:r>
          </a:p>
          <a:p>
            <a:r>
              <a:rPr lang="en-US" dirty="0"/>
              <a:t>3 (three) hours on-site classroom training</a:t>
            </a:r>
          </a:p>
          <a:p>
            <a:r>
              <a:rPr lang="en-US" dirty="0"/>
              <a:t>Travel to Paris required</a:t>
            </a:r>
          </a:p>
          <a:p>
            <a:r>
              <a:rPr lang="en-US" dirty="0"/>
              <a:t>First slide: </a:t>
            </a:r>
            <a:r>
              <a:rPr lang="en-US" b="1" dirty="0"/>
              <a:t>legal penalties</a:t>
            </a:r>
          </a:p>
          <a:p>
            <a:r>
              <a:rPr lang="en-US" dirty="0"/>
              <a:t>Quarter of slides: </a:t>
            </a:r>
            <a:r>
              <a:rPr lang="en-US" b="1" dirty="0"/>
              <a:t>disclosure rules</a:t>
            </a:r>
          </a:p>
          <a:p>
            <a:pPr lvl="1"/>
            <a:r>
              <a:rPr lang="en-US" dirty="0"/>
              <a:t>Mostly cell-count rules</a:t>
            </a:r>
          </a:p>
          <a:p>
            <a:pPr lvl="1"/>
            <a:r>
              <a:rPr lang="en-US" dirty="0"/>
              <a:t>Mostly (numeric) examples of primary/secondary suppression</a:t>
            </a:r>
          </a:p>
          <a:p>
            <a:pPr lvl="1"/>
            <a:r>
              <a:rPr lang="en-US" dirty="0"/>
              <a:t>Examples of what confidential supplementary files should look like</a:t>
            </a:r>
          </a:p>
          <a:p>
            <a:r>
              <a:rPr lang="en-US" dirty="0"/>
              <a:t>Half of slides: </a:t>
            </a:r>
            <a:r>
              <a:rPr lang="en-US" b="1" dirty="0"/>
              <a:t>technical system </a:t>
            </a:r>
            <a:r>
              <a:rPr lang="en-US" dirty="0"/>
              <a:t>with live demo</a:t>
            </a:r>
          </a:p>
        </p:txBody>
      </p:sp>
    </p:spTree>
    <p:extLst>
      <p:ext uri="{BB962C8B-B14F-4D97-AF65-F5344CB8AC3E}">
        <p14:creationId xmlns:p14="http://schemas.microsoft.com/office/powerpoint/2010/main" val="899890235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0016" y="386715"/>
            <a:ext cx="9784080" cy="1325563"/>
          </a:xfrm>
        </p:spPr>
        <p:txBody>
          <a:bodyPr/>
          <a:lstStyle/>
          <a:p>
            <a:r>
              <a:rPr lang="en-US" dirty="0"/>
              <a:t>CASD setu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8500" y="6366343"/>
            <a:ext cx="10515600" cy="458704"/>
          </a:xfrm>
        </p:spPr>
        <p:txBody>
          <a:bodyPr>
            <a:normAutofit/>
          </a:bodyPr>
          <a:lstStyle/>
          <a:p>
            <a:r>
              <a:rPr lang="en-US" sz="1100" dirty="0"/>
              <a:t>Source: CASD training materials 2017-01-12</a:t>
            </a:r>
          </a:p>
        </p:txBody>
      </p:sp>
      <p:pic>
        <p:nvPicPr>
          <p:cNvPr id="4" name="Picture 2" descr="\\eden\PartageGroupesUtilisateurs\CASD\Doc-Informatique\Schémas GMV\SDBox Entreprise Sensitive Data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0016" y="273368"/>
            <a:ext cx="8611968" cy="609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90813905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8273" y="399415"/>
            <a:ext cx="9784080" cy="1325563"/>
          </a:xfrm>
        </p:spPr>
        <p:txBody>
          <a:bodyPr/>
          <a:lstStyle/>
          <a:p>
            <a:r>
              <a:rPr lang="en-US" dirty="0"/>
              <a:t>CASD setu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8500" y="6366343"/>
            <a:ext cx="10515600" cy="458704"/>
          </a:xfrm>
        </p:spPr>
        <p:txBody>
          <a:bodyPr>
            <a:normAutofit/>
          </a:bodyPr>
          <a:lstStyle/>
          <a:p>
            <a:r>
              <a:rPr lang="en-US" sz="1100" dirty="0"/>
              <a:t>Source: CASD training materials 2017-01-12</a:t>
            </a:r>
          </a:p>
        </p:txBody>
      </p:sp>
      <p:pic>
        <p:nvPicPr>
          <p:cNvPr id="5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8273" y="693045"/>
            <a:ext cx="7456054" cy="4968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762401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D secur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ur-factor authentication</a:t>
            </a:r>
          </a:p>
          <a:p>
            <a:pPr lvl="1"/>
            <a:r>
              <a:rPr lang="en-US" dirty="0"/>
              <a:t>Device </a:t>
            </a:r>
          </a:p>
          <a:p>
            <a:pPr lvl="1"/>
            <a:r>
              <a:rPr lang="en-US" dirty="0"/>
              <a:t>Card</a:t>
            </a:r>
          </a:p>
          <a:p>
            <a:pPr lvl="1"/>
            <a:r>
              <a:rPr lang="en-US" dirty="0"/>
              <a:t>Fingerprint</a:t>
            </a:r>
          </a:p>
          <a:p>
            <a:pPr lvl="1"/>
            <a:r>
              <a:rPr lang="en-US" dirty="0"/>
              <a:t>Password</a:t>
            </a:r>
          </a:p>
          <a:p>
            <a:r>
              <a:rPr lang="en-US" dirty="0"/>
              <a:t>Loss of card (+fingerprint data) </a:t>
            </a:r>
            <a:br>
              <a:rPr lang="en-US" dirty="0"/>
            </a:br>
            <a:r>
              <a:rPr lang="en-US" dirty="0"/>
              <a:t>→ trip back to Paris to create a new one</a:t>
            </a:r>
          </a:p>
        </p:txBody>
      </p:sp>
      <p:pic>
        <p:nvPicPr>
          <p:cNvPr id="4" name="Content Placehold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960" y="1510060"/>
            <a:ext cx="5181600" cy="2757742"/>
          </a:xfrm>
          <a:prstGeom prst="rect">
            <a:avLst/>
          </a:prstGeom>
          <a:effectLst>
            <a:softEdge rad="203200"/>
          </a:effectLst>
        </p:spPr>
      </p:pic>
    </p:spTree>
    <p:extLst>
      <p:ext uri="{BB962C8B-B14F-4D97-AF65-F5344CB8AC3E}">
        <p14:creationId xmlns:p14="http://schemas.microsoft.com/office/powerpoint/2010/main" val="2549097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6163" y="365125"/>
            <a:ext cx="8117547" cy="5221224"/>
          </a:xfrm>
          <a:prstGeom prst="rect">
            <a:avLst/>
          </a:prstGeom>
          <a:effectLst>
            <a:outerShdw blurRad="50800" dist="139700" dir="2700000" algn="tl" rotWithShape="0">
              <a:prstClr val="black">
                <a:alpha val="40000"/>
              </a:prstClr>
            </a:outerShdw>
            <a:softEdge rad="63500"/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6304" y="1617854"/>
            <a:ext cx="9180431" cy="5047488"/>
          </a:xfrm>
          <a:prstGeom prst="rect">
            <a:avLst/>
          </a:prstGeom>
          <a:effectLst>
            <a:outerShdw blurRad="50800" dist="165100" dir="2700000" algn="tl" rotWithShape="0">
              <a:prstClr val="black">
                <a:alpha val="40000"/>
              </a:prstClr>
            </a:outerShdw>
            <a:softEdge rad="6350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2401" y="721271"/>
            <a:ext cx="4614317" cy="6297770"/>
          </a:xfrm>
          <a:prstGeom prst="rect">
            <a:avLst/>
          </a:prstGeom>
          <a:effectLst>
            <a:outerShdw blurRad="50800" dist="190500" dir="2700000" algn="tl" rotWithShape="0">
              <a:prstClr val="black">
                <a:alpha val="40000"/>
              </a:prstClr>
            </a:outerShdw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2357319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3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iven by advances in technology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sz="3600" dirty="0"/>
              <a:t>“These improvements resulted not only in time and space savings, but cost savings as well, enabling researchers to do </a:t>
            </a:r>
            <a:r>
              <a:rPr lang="en-US" sz="4400" b="1" dirty="0"/>
              <a:t>more detailed research </a:t>
            </a:r>
            <a:r>
              <a:rPr lang="en-US" sz="3600" dirty="0"/>
              <a:t>and respond more quickly to pressing social issues. […] </a:t>
            </a:r>
            <a:r>
              <a:rPr lang="en-US" sz="4400" b="1" dirty="0">
                <a:solidFill>
                  <a:schemeClr val="accent1">
                    <a:lumMod val="50000"/>
                  </a:schemeClr>
                </a:solidFill>
              </a:rPr>
              <a:t>government programs </a:t>
            </a:r>
            <a:r>
              <a:rPr lang="en-US" sz="3600" dirty="0"/>
              <a:t>designed to address social issues […] </a:t>
            </a:r>
            <a:r>
              <a:rPr lang="en-US" sz="4400" b="1" dirty="0">
                <a:solidFill>
                  <a:schemeClr val="accent1">
                    <a:lumMod val="50000"/>
                  </a:schemeClr>
                </a:solidFill>
              </a:rPr>
              <a:t>called for more information </a:t>
            </a:r>
            <a:r>
              <a:rPr lang="en-US" sz="3600" dirty="0"/>
              <a:t>and data on those issues. […] As research needs grew and research capabilities expanded,  […] </a:t>
            </a:r>
            <a:r>
              <a:rPr lang="en-US" sz="4000" b="1" dirty="0">
                <a:solidFill>
                  <a:schemeClr val="accent2">
                    <a:lumMod val="50000"/>
                  </a:schemeClr>
                </a:solidFill>
              </a:rPr>
              <a:t>increasing the demand for data</a:t>
            </a:r>
            <a:r>
              <a:rPr lang="en-US" sz="3600" dirty="0"/>
              <a:t>.”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236824" y="6508376"/>
            <a:ext cx="35315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 err="1">
                <a:hlinkClick r:id="rId2"/>
              </a:rPr>
              <a:t>Src</a:t>
            </a:r>
            <a:r>
              <a:rPr lang="en-US" sz="800" dirty="0">
                <a:hlinkClick r:id="rId2"/>
              </a:rPr>
              <a:t>: Kraus (2011) https://www.census.gov/history/pdf/kraus-natdatacenter.pdf</a:t>
            </a:r>
            <a:r>
              <a:rPr lang="en-US" sz="800" dirty="0"/>
              <a:t>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754112" y="5583936"/>
            <a:ext cx="17068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</a:rPr>
              <a:t>1960s!</a:t>
            </a:r>
          </a:p>
        </p:txBody>
      </p:sp>
    </p:spTree>
    <p:extLst>
      <p:ext uri="{BB962C8B-B14F-4D97-AF65-F5344CB8AC3E}">
        <p14:creationId xmlns:p14="http://schemas.microsoft.com/office/powerpoint/2010/main" val="24935193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ensus Bureau</a:t>
            </a:r>
          </a:p>
          <a:p>
            <a:pPr lvl="1"/>
            <a:r>
              <a:rPr lang="en-US" dirty="0"/>
              <a:t>CES seminars featuring FSRDC presenters</a:t>
            </a:r>
          </a:p>
          <a:p>
            <a:pPr lvl="1"/>
            <a:r>
              <a:rPr lang="en-US" dirty="0"/>
              <a:t>CES graduate mentorship</a:t>
            </a:r>
          </a:p>
          <a:p>
            <a:pPr lvl="1"/>
            <a:r>
              <a:rPr lang="en-US" dirty="0"/>
              <a:t>FSRDC conference</a:t>
            </a:r>
          </a:p>
          <a:p>
            <a:r>
              <a:rPr lang="en-US" dirty="0"/>
              <a:t>CASD</a:t>
            </a:r>
          </a:p>
          <a:p>
            <a:pPr lvl="1"/>
            <a:r>
              <a:rPr lang="en-US" dirty="0"/>
              <a:t>Initial training plays a role</a:t>
            </a:r>
          </a:p>
          <a:p>
            <a:pPr lvl="1"/>
            <a:r>
              <a:rPr lang="en-US" dirty="0"/>
              <a:t>So far, only one conference, but very high-profile</a:t>
            </a:r>
          </a:p>
          <a:p>
            <a:pPr lvl="2"/>
            <a:r>
              <a:rPr lang="en-US" dirty="0"/>
              <a:t>Piketty video [</a:t>
            </a:r>
            <a:r>
              <a:rPr lang="en-US" dirty="0">
                <a:hlinkClick r:id="rId3"/>
              </a:rPr>
              <a:t>URL</a:t>
            </a:r>
            <a:r>
              <a:rPr lang="en-US" dirty="0"/>
              <a:t>]</a:t>
            </a:r>
          </a:p>
          <a:p>
            <a:pPr lvl="2"/>
            <a:r>
              <a:rPr lang="en-US" dirty="0"/>
              <a:t>Minister of State for Digital Affairs Axelle </a:t>
            </a:r>
            <a:r>
              <a:rPr lang="en-US" dirty="0" err="1"/>
              <a:t>Lemaire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05394" y="3325362"/>
            <a:ext cx="3450210" cy="1829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4777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3"/>
    </p:bld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y (cont.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AB</a:t>
            </a:r>
          </a:p>
          <a:p>
            <a:pPr lvl="1"/>
            <a:r>
              <a:rPr lang="en-US" dirty="0"/>
              <a:t>(past) visits to </a:t>
            </a:r>
            <a:r>
              <a:rPr lang="en-US" dirty="0" err="1"/>
              <a:t>Nürnberg</a:t>
            </a:r>
            <a:r>
              <a:rPr lang="en-US" dirty="0"/>
              <a:t> suggested and funded to connect with researchers</a:t>
            </a:r>
          </a:p>
          <a:p>
            <a:pPr lvl="1"/>
            <a:r>
              <a:rPr lang="en-US" dirty="0"/>
              <a:t>So far, one international conference (at Michigan, organized by Maggie </a:t>
            </a:r>
            <a:r>
              <a:rPr lang="en-US" dirty="0" err="1"/>
              <a:t>Levenstein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Overseas RDCs are a community-building exercise</a:t>
            </a:r>
          </a:p>
          <a:p>
            <a:pPr lvl="1"/>
            <a:r>
              <a:rPr lang="en-US" dirty="0"/>
              <a:t>Flooding the job market with economics graduates who have worked with German data…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2157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2"/>
    </p:bld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 content, method, and frequency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838200" y="1825625"/>
          <a:ext cx="10515600" cy="302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2600">
                  <a:extLst>
                    <a:ext uri="{9D8B030D-6E8A-4147-A177-3AD203B41FA5}">
                      <a16:colId xmlns:a16="http://schemas.microsoft.com/office/drawing/2014/main" val="1270960243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85009341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2835726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041448794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174214765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939100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avoidance tool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728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a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eneral </a:t>
                      </a:r>
                      <a:br>
                        <a:rPr lang="en-US" dirty="0"/>
                      </a:br>
                      <a:r>
                        <a:rPr lang="en-US" sz="1400" dirty="0"/>
                        <a:t>(+ site specifi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ener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n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0042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IAB 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DF 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, other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93421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(Franc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 person (3h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4078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enma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DF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)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1588251"/>
                  </a:ext>
                </a:extLst>
              </a:tr>
            </a:tbl>
          </a:graphicData>
        </a:graphic>
      </p:graphicFrame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6114971"/>
              </p:ext>
            </p:extLst>
          </p:nvPr>
        </p:nvGraphicFramePr>
        <p:xfrm>
          <a:off x="838200" y="1825625"/>
          <a:ext cx="10515600" cy="302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2600">
                  <a:extLst>
                    <a:ext uri="{9D8B030D-6E8A-4147-A177-3AD203B41FA5}">
                      <a16:colId xmlns:a16="http://schemas.microsoft.com/office/drawing/2014/main" val="1270960243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85009341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2835726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041448794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174214765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939100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728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a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eneral </a:t>
                      </a:r>
                      <a:br>
                        <a:rPr lang="en-US" dirty="0"/>
                      </a:br>
                      <a:r>
                        <a:rPr lang="en-US" sz="1400" dirty="0"/>
                        <a:t>(+ site specifi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ener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n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0042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IAB 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DF 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, oth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93421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(Franc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 person (3h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4078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enma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DF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1588251"/>
                  </a:ext>
                </a:extLst>
              </a:tr>
            </a:tbl>
          </a:graphicData>
        </a:graphic>
      </p:graphicFrame>
      <p:graphicFrame>
        <p:nvGraphicFramePr>
          <p:cNvPr id="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83106370"/>
              </p:ext>
            </p:extLst>
          </p:nvPr>
        </p:nvGraphicFramePr>
        <p:xfrm>
          <a:off x="838200" y="1825625"/>
          <a:ext cx="10515600" cy="302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2600">
                  <a:extLst>
                    <a:ext uri="{9D8B030D-6E8A-4147-A177-3AD203B41FA5}">
                      <a16:colId xmlns:a16="http://schemas.microsoft.com/office/drawing/2014/main" val="1270960243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85009341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2835726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041448794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174214765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939100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ser confere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728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a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eneral </a:t>
                      </a:r>
                      <a:br>
                        <a:rPr lang="en-US" dirty="0"/>
                      </a:br>
                      <a:r>
                        <a:rPr lang="en-US" sz="1400" dirty="0"/>
                        <a:t>(+ site specifi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ener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n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arl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0042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IAB 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DF 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, oth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rregul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93421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(Franc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 person (3h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4078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enma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DF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15882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5007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766033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Remote</a:t>
            </a:r>
            <a:r>
              <a:rPr lang="en-US" dirty="0"/>
              <a:t> access of some type is the </a:t>
            </a:r>
            <a:r>
              <a:rPr lang="en-US" b="1" dirty="0"/>
              <a:t>standard</a:t>
            </a:r>
            <a:r>
              <a:rPr lang="en-US" dirty="0"/>
              <a:t> practice around the world</a:t>
            </a:r>
          </a:p>
          <a:p>
            <a:r>
              <a:rPr lang="en-US" b="1" dirty="0"/>
              <a:t>Access locations </a:t>
            </a:r>
            <a:r>
              <a:rPr lang="en-US" dirty="0"/>
              <a:t>and ease of releasing results vary substantially</a:t>
            </a:r>
          </a:p>
          <a:p>
            <a:r>
              <a:rPr lang="en-US" dirty="0"/>
              <a:t>Disclosure avoidance process is still </a:t>
            </a:r>
            <a:r>
              <a:rPr lang="en-US" b="1" dirty="0"/>
              <a:t>quite pedestrian </a:t>
            </a:r>
            <a:r>
              <a:rPr lang="en-US" dirty="0"/>
              <a:t>in almost all cases, and DA methods are “</a:t>
            </a:r>
            <a:r>
              <a:rPr lang="en-US" b="1" dirty="0"/>
              <a:t>old-fashioned</a:t>
            </a:r>
            <a:r>
              <a:rPr lang="en-US" dirty="0"/>
              <a:t>”</a:t>
            </a:r>
          </a:p>
          <a:p>
            <a:r>
              <a:rPr lang="en-US" b="1" dirty="0"/>
              <a:t>Remote submission methods </a:t>
            </a:r>
            <a:r>
              <a:rPr lang="en-US" dirty="0"/>
              <a:t>remain quite limiting</a:t>
            </a:r>
          </a:p>
          <a:p>
            <a:r>
              <a:rPr lang="en-US" dirty="0"/>
              <a:t>Newer access mechanisms (synthetic data) successfully combine ability to estimate 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arbitrary models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dirty="0"/>
              <a:t>with 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robust (provable) protection mechanisms</a:t>
            </a:r>
            <a:r>
              <a:rPr lang="en-US" dirty="0"/>
              <a:t>, but remain at an early stage</a:t>
            </a:r>
            <a:endParaRPr lang="en-US" sz="3600" b="1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260171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and tru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gal obligations matter</a:t>
            </a:r>
          </a:p>
          <a:p>
            <a:pPr lvl="1"/>
            <a:r>
              <a:rPr lang="en-US" dirty="0"/>
              <a:t>Criminal vs. contractual obligations</a:t>
            </a:r>
          </a:p>
          <a:p>
            <a:pPr lvl="1"/>
            <a:r>
              <a:rPr lang="en-US" dirty="0"/>
              <a:t>Obligating the institutions more strongly may help relax other constraints</a:t>
            </a:r>
          </a:p>
          <a:p>
            <a:r>
              <a:rPr lang="en-US" dirty="0"/>
              <a:t>Community matters</a:t>
            </a:r>
          </a:p>
          <a:p>
            <a:pPr lvl="1"/>
            <a:r>
              <a:rPr lang="en-US" dirty="0"/>
              <a:t>Pulling researchers close to the statistical agency through training</a:t>
            </a:r>
          </a:p>
          <a:p>
            <a:pPr lvl="1"/>
            <a:r>
              <a:rPr lang="en-US" dirty="0"/>
              <a:t>Creating a community through conferences, mentoring, etc.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885799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ultimate achieve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530135"/>
            <a:ext cx="10515600" cy="3646827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000" dirty="0"/>
              <a:t>What kind of community, training, legal environment would the </a:t>
            </a:r>
            <a:r>
              <a:rPr lang="en-US" sz="4000" dirty="0" err="1"/>
              <a:t>FedStat</a:t>
            </a:r>
            <a:r>
              <a:rPr lang="en-US" sz="4000" dirty="0"/>
              <a:t> system need to implement to allow researches to access confidential data the same way Census employees do?</a:t>
            </a:r>
          </a:p>
        </p:txBody>
      </p:sp>
    </p:spTree>
    <p:extLst>
      <p:ext uri="{BB962C8B-B14F-4D97-AF65-F5344CB8AC3E}">
        <p14:creationId xmlns:p14="http://schemas.microsoft.com/office/powerpoint/2010/main" val="1603966499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.s. one last th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7268308" cy="1867144"/>
          </a:xfrm>
        </p:spPr>
        <p:txBody>
          <a:bodyPr>
            <a:normAutofit fontScale="92500" lnSpcReduction="20000"/>
          </a:bodyPr>
          <a:lstStyle/>
          <a:p>
            <a:r>
              <a:rPr lang="en-US" b="1" dirty="0"/>
              <a:t>Replicability</a:t>
            </a:r>
            <a:r>
              <a:rPr lang="en-US" dirty="0"/>
              <a:t> is a nascent problem</a:t>
            </a:r>
          </a:p>
          <a:p>
            <a:pPr lvl="1"/>
            <a:r>
              <a:rPr lang="en-US" dirty="0"/>
              <a:t>More and more journals require provable replicability</a:t>
            </a:r>
          </a:p>
          <a:p>
            <a:pPr lvl="1"/>
            <a:r>
              <a:rPr lang="en-US" dirty="0"/>
              <a:t>Cannot be satisfied with </a:t>
            </a:r>
            <a:r>
              <a:rPr lang="en-US" b="1" dirty="0"/>
              <a:t>idiosyncratic</a:t>
            </a:r>
            <a:r>
              <a:rPr lang="en-US" dirty="0"/>
              <a:t> access mechanisms</a:t>
            </a:r>
          </a:p>
          <a:p>
            <a:pPr lvl="1"/>
            <a:r>
              <a:rPr lang="en-US" dirty="0"/>
              <a:t>Some research with confidential files will </a:t>
            </a:r>
            <a:r>
              <a:rPr lang="en-US" b="1" dirty="0"/>
              <a:t>lose</a:t>
            </a:r>
            <a:r>
              <a:rPr lang="en-US" dirty="0"/>
              <a:t> (reputable) publication outlet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>
          <a:xfrm>
            <a:off x="838200" y="4001294"/>
            <a:ext cx="6037385" cy="1613755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Transparency critical</a:t>
            </a:r>
          </a:p>
          <a:p>
            <a:pPr lvl="1"/>
            <a:r>
              <a:rPr lang="en-US" dirty="0"/>
              <a:t>Need capability to be able to </a:t>
            </a:r>
            <a:r>
              <a:rPr lang="en-US" b="1" dirty="0"/>
              <a:t>archive</a:t>
            </a:r>
            <a:r>
              <a:rPr lang="en-US" dirty="0"/>
              <a:t> research files within secure enclaves</a:t>
            </a:r>
          </a:p>
          <a:p>
            <a:pPr lvl="1"/>
            <a:r>
              <a:rPr lang="en-US" dirty="0"/>
              <a:t>Need ability to </a:t>
            </a:r>
            <a:r>
              <a:rPr lang="en-US" b="1" dirty="0"/>
              <a:t>publically identify </a:t>
            </a:r>
            <a:r>
              <a:rPr lang="en-US" dirty="0"/>
              <a:t>such files (documentation) </a:t>
            </a:r>
            <a:r>
              <a:rPr lang="en-US" i="1" dirty="0">
                <a:solidFill>
                  <a:schemeClr val="bg2">
                    <a:lumMod val="50000"/>
                  </a:schemeClr>
                </a:solidFill>
              </a:rPr>
              <a:t>[DDI, DOI]</a:t>
            </a:r>
          </a:p>
          <a:p>
            <a:pPr lvl="1"/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8438" y="3897972"/>
            <a:ext cx="3993539" cy="2714942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8346464" y="1115890"/>
            <a:ext cx="3323492" cy="2885404"/>
            <a:chOff x="8346464" y="1115890"/>
            <a:chExt cx="3323492" cy="2885404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46464" y="1115890"/>
              <a:ext cx="2638425" cy="933450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64981" y="1724819"/>
              <a:ext cx="1704975" cy="22764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031253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8" grpId="0" build="p"/>
    </p:bld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583709" y="2521527"/>
            <a:ext cx="51354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hank you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  <a:p>
            <a:pPr algn="ctr"/>
            <a:r>
              <a:rPr lang="en-US">
                <a:solidFill>
                  <a:schemeClr val="bg1"/>
                </a:solidFill>
              </a:rPr>
              <a:t>lars.vilhuber</a:t>
            </a:r>
            <a:r>
              <a:rPr lang="en-US" dirty="0">
                <a:solidFill>
                  <a:schemeClr val="bg1"/>
                </a:solidFill>
              </a:rPr>
              <a:t>@cornell</a:t>
            </a:r>
            <a:r>
              <a:rPr lang="en-US">
                <a:solidFill>
                  <a:schemeClr val="bg1"/>
                </a:solidFill>
              </a:rPr>
              <a:t>.edu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12192000" cy="222250"/>
          </a:xfrm>
          <a:prstGeom prst="rect">
            <a:avLst/>
          </a:prstGeom>
          <a:solidFill>
            <a:srgbClr val="B31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7" name="Picture 6" descr="cu screen b31b1b.psd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4"/>
          <a:stretch/>
        </p:blipFill>
        <p:spPr>
          <a:xfrm>
            <a:off x="5447768" y="5408926"/>
            <a:ext cx="1405614" cy="1287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313178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efan Bender (formerly IAB and now Bundesbank, Germany)</a:t>
            </a:r>
          </a:p>
          <a:p>
            <a:r>
              <a:rPr lang="en-US" dirty="0" err="1"/>
              <a:t>Jörg</a:t>
            </a:r>
            <a:r>
              <a:rPr lang="en-US" dirty="0"/>
              <a:t> </a:t>
            </a:r>
            <a:r>
              <a:rPr lang="en-US" dirty="0" err="1"/>
              <a:t>Heining</a:t>
            </a:r>
            <a:r>
              <a:rPr lang="en-US" dirty="0"/>
              <a:t> (IAB, Germany)</a:t>
            </a:r>
          </a:p>
          <a:p>
            <a:r>
              <a:rPr lang="en-US" dirty="0"/>
              <a:t>Roxanne Silberman (CASD, France)</a:t>
            </a:r>
          </a:p>
          <a:p>
            <a:r>
              <a:rPr lang="en-US" dirty="0" err="1"/>
              <a:t>Kamel</a:t>
            </a:r>
            <a:r>
              <a:rPr lang="en-US" dirty="0"/>
              <a:t> </a:t>
            </a:r>
            <a:r>
              <a:rPr lang="en-US" dirty="0" err="1"/>
              <a:t>Gadouche</a:t>
            </a:r>
            <a:r>
              <a:rPr lang="en-US" dirty="0"/>
              <a:t> (CASD, France)</a:t>
            </a:r>
          </a:p>
          <a:p>
            <a:r>
              <a:rPr lang="en-US" dirty="0"/>
              <a:t>Jean Poirier (CIQSS, Canada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8924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fessional associ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t the 1959 annual meeting of the </a:t>
            </a:r>
            <a:r>
              <a:rPr lang="en-US" sz="3600" b="1" dirty="0"/>
              <a:t>American Economic Association</a:t>
            </a:r>
            <a:r>
              <a:rPr lang="en-US" dirty="0"/>
              <a:t>, members of the executive committee discussed the need for access to social and economic data for research purposes</a:t>
            </a:r>
            <a:br>
              <a:rPr lang="en-US" dirty="0"/>
            </a:br>
            <a:r>
              <a:rPr lang="en-US" dirty="0"/>
              <a:t>→ </a:t>
            </a:r>
            <a:r>
              <a:rPr lang="en-US" b="1" dirty="0" err="1"/>
              <a:t>Ruggles</a:t>
            </a:r>
            <a:r>
              <a:rPr lang="en-US" b="1" dirty="0"/>
              <a:t> Report </a:t>
            </a:r>
            <a:r>
              <a:rPr lang="en-US" dirty="0"/>
              <a:t>in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April 1965 </a:t>
            </a:r>
          </a:p>
          <a:p>
            <a:r>
              <a:rPr lang="en-US" sz="3600" b="1" dirty="0"/>
              <a:t>American Statistical Association </a:t>
            </a:r>
            <a:r>
              <a:rPr lang="en-US" dirty="0"/>
              <a:t>(ASA) Advisory Committee assisted Bureau of the Budget (pre-OMB) </a:t>
            </a:r>
            <a:br>
              <a:rPr lang="en-US" dirty="0"/>
            </a:br>
            <a:r>
              <a:rPr lang="en-US" dirty="0"/>
              <a:t>→ “</a:t>
            </a:r>
            <a:r>
              <a:rPr lang="en-US" b="1" dirty="0"/>
              <a:t>Recommendations</a:t>
            </a:r>
            <a:r>
              <a:rPr lang="en-US" dirty="0"/>
              <a:t> on Availability of Federal Statistical Materials to Nongovernmental Research Workers,” </a:t>
            </a:r>
            <a:r>
              <a:rPr lang="en-US" sz="1400" dirty="0"/>
              <a:t>The American Statistician, vol. 13, no. 4 (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October 1959</a:t>
            </a:r>
            <a:r>
              <a:rPr lang="en-US" sz="1400" dirty="0"/>
              <a:t>) DOI: </a:t>
            </a:r>
            <a:r>
              <a:rPr lang="en-US" sz="1400" dirty="0">
                <a:hlinkClick r:id="rId3"/>
              </a:rPr>
              <a:t>10.1080/00031305.1959.10482600</a:t>
            </a:r>
            <a:r>
              <a:rPr lang="en-US" sz="1400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506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en-US" dirty="0"/>
              <a:t>Walter Wilcox (1914) cited in Anderson, Margo J., and Seltzer, William. “Federal Statistical Confidentiality and Business Data: Twentieth Century Challenges and Continuing Issues’.” Journal of Privacy and Confidentiality 1.1 (2009): 7-52, 55-58.</a:t>
            </a:r>
          </a:p>
          <a:p>
            <a:r>
              <a:rPr lang="en-US" dirty="0" err="1"/>
              <a:t>Kohlmann</a:t>
            </a:r>
            <a:r>
              <a:rPr lang="en-US" dirty="0"/>
              <a:t>, Annette (2005): “The Research Data Centre of the Federal Employment Service in the Institute for Employment Research.” In: </a:t>
            </a:r>
            <a:r>
              <a:rPr lang="en-US" dirty="0" err="1"/>
              <a:t>Schmollers</a:t>
            </a:r>
            <a:r>
              <a:rPr lang="en-US" dirty="0"/>
              <a:t> </a:t>
            </a:r>
            <a:r>
              <a:rPr lang="en-US" dirty="0" err="1"/>
              <a:t>Jahrbuch</a:t>
            </a:r>
            <a:r>
              <a:rPr lang="en-US" dirty="0"/>
              <a:t> 125, 437-447</a:t>
            </a:r>
          </a:p>
          <a:p>
            <a:r>
              <a:rPr lang="en-US" dirty="0" err="1"/>
              <a:t>Allmendinger</a:t>
            </a:r>
            <a:r>
              <a:rPr lang="en-US" dirty="0"/>
              <a:t>, Jutta and </a:t>
            </a:r>
            <a:r>
              <a:rPr lang="en-US" dirty="0" err="1"/>
              <a:t>Kohlmann</a:t>
            </a:r>
            <a:r>
              <a:rPr lang="en-US" dirty="0"/>
              <a:t>, Annette (2005) “</a:t>
            </a:r>
            <a:r>
              <a:rPr lang="en-US" dirty="0" err="1"/>
              <a:t>Datenverfügbarkeit</a:t>
            </a:r>
            <a:r>
              <a:rPr lang="en-US" dirty="0"/>
              <a:t> und </a:t>
            </a:r>
            <a:r>
              <a:rPr lang="en-US" dirty="0" err="1"/>
              <a:t>Datenzugang</a:t>
            </a:r>
            <a:r>
              <a:rPr lang="en-US" dirty="0"/>
              <a:t> am </a:t>
            </a:r>
            <a:r>
              <a:rPr lang="en-US" dirty="0" err="1"/>
              <a:t>Forschungsdatenzentrum</a:t>
            </a:r>
            <a:r>
              <a:rPr lang="en-US" dirty="0"/>
              <a:t> der </a:t>
            </a:r>
            <a:r>
              <a:rPr lang="en-US" dirty="0" err="1"/>
              <a:t>Bundesagentur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</a:t>
            </a:r>
            <a:r>
              <a:rPr lang="en-US" dirty="0" err="1"/>
              <a:t>Arbeit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Institut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</a:t>
            </a:r>
            <a:r>
              <a:rPr lang="en-US" dirty="0" err="1"/>
              <a:t>Arbeitsmarkt</a:t>
            </a:r>
            <a:r>
              <a:rPr lang="en-US" dirty="0"/>
              <a:t>- und </a:t>
            </a:r>
            <a:r>
              <a:rPr lang="en-US" dirty="0" err="1"/>
              <a:t>Berufsforschung</a:t>
            </a:r>
            <a:r>
              <a:rPr lang="en-US" dirty="0"/>
              <a:t>”. In: </a:t>
            </a:r>
            <a:r>
              <a:rPr lang="en-US" dirty="0" err="1"/>
              <a:t>Allgemeines</a:t>
            </a:r>
            <a:r>
              <a:rPr lang="en-US" dirty="0"/>
              <a:t> </a:t>
            </a:r>
            <a:r>
              <a:rPr lang="en-US" dirty="0" err="1"/>
              <a:t>Statistisches</a:t>
            </a:r>
            <a:r>
              <a:rPr lang="en-US" dirty="0"/>
              <a:t> </a:t>
            </a:r>
            <a:r>
              <a:rPr lang="en-US" dirty="0" err="1"/>
              <a:t>Archiv</a:t>
            </a:r>
            <a:r>
              <a:rPr lang="en-US" dirty="0"/>
              <a:t> 89, S. 159-182</a:t>
            </a:r>
          </a:p>
          <a:p>
            <a:r>
              <a:rPr lang="en-US" dirty="0" err="1"/>
              <a:t>Heining</a:t>
            </a:r>
            <a:r>
              <a:rPr lang="en-US" dirty="0"/>
              <a:t>, </a:t>
            </a:r>
            <a:r>
              <a:rPr lang="en-US" dirty="0" err="1"/>
              <a:t>Jörg</a:t>
            </a:r>
            <a:r>
              <a:rPr lang="en-US" dirty="0"/>
              <a:t> (2010): “The Research Data Centre of the German Federal Employment Agency: data supply and demand between 2004 and 2009.” In: </a:t>
            </a:r>
            <a:r>
              <a:rPr lang="en-US" dirty="0" err="1"/>
              <a:t>Zeitschrift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</a:t>
            </a:r>
            <a:r>
              <a:rPr lang="en-US" dirty="0" err="1"/>
              <a:t>ArbeitsmarktForschung</a:t>
            </a:r>
            <a:r>
              <a:rPr lang="en-US" dirty="0"/>
              <a:t>, Jg. 42, H. 4, S. 337-350. </a:t>
            </a:r>
            <a:r>
              <a:rPr lang="en-US" dirty="0">
                <a:hlinkClick r:id="rId2"/>
              </a:rPr>
              <a:t>http://www.iab.de/389/section.aspx/Publikation/k100128n09</a:t>
            </a:r>
            <a:r>
              <a:rPr lang="en-US" dirty="0"/>
              <a:t> </a:t>
            </a:r>
          </a:p>
          <a:p>
            <a:r>
              <a:rPr lang="en-US" dirty="0" err="1"/>
              <a:t>Kargus</a:t>
            </a:r>
            <a:r>
              <a:rPr lang="en-US" dirty="0"/>
              <a:t>, Andrea; Müller, Anne (2014): “Auch in </a:t>
            </a:r>
            <a:r>
              <a:rPr lang="en-US" dirty="0" err="1"/>
              <a:t>Nürnberg</a:t>
            </a:r>
            <a:r>
              <a:rPr lang="en-US" dirty="0"/>
              <a:t> </a:t>
            </a:r>
            <a:r>
              <a:rPr lang="en-US" dirty="0" err="1"/>
              <a:t>möglich</a:t>
            </a:r>
            <a:r>
              <a:rPr lang="en-US" dirty="0"/>
              <a:t>: Von der </a:t>
            </a:r>
            <a:r>
              <a:rPr lang="en-US" dirty="0" err="1"/>
              <a:t>zweiten</a:t>
            </a:r>
            <a:r>
              <a:rPr lang="en-US" dirty="0"/>
              <a:t> Liga in die Champions League - </a:t>
            </a:r>
            <a:r>
              <a:rPr lang="en-US" dirty="0" err="1"/>
              <a:t>ein</a:t>
            </a:r>
            <a:r>
              <a:rPr lang="en-US" dirty="0"/>
              <a:t> </a:t>
            </a:r>
            <a:r>
              <a:rPr lang="en-US" dirty="0" err="1"/>
              <a:t>Gespräch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/>
              <a:t> Stefan Bender.” In: IAB-Forum, </a:t>
            </a:r>
            <a:r>
              <a:rPr lang="en-US" dirty="0" err="1"/>
              <a:t>Nr</a:t>
            </a:r>
            <a:r>
              <a:rPr lang="en-US" dirty="0"/>
              <a:t>. 2, S. 38-45. </a:t>
            </a:r>
            <a:r>
              <a:rPr lang="en-US" dirty="0">
                <a:hlinkClick r:id="rId3"/>
              </a:rPr>
              <a:t>http://www.iab.de/188/section.aspx/Publikation/k141201301</a:t>
            </a:r>
            <a:r>
              <a:rPr lang="en-US" dirty="0"/>
              <a:t> </a:t>
            </a:r>
          </a:p>
          <a:p>
            <a:r>
              <a:rPr lang="en-US" dirty="0"/>
              <a:t>Kraus, Rebecca S. (2011): “Statistical Déjà Vu: The National Data Center Proposal of 1965 and Its Descendants.” Presentation at JSM 2011. </a:t>
            </a:r>
            <a:r>
              <a:rPr lang="de-DE">
                <a:hlinkClick r:id="rId4"/>
              </a:rPr>
              <a:t>https://www.census.gov/history/pdf/kraus-natdatacenter.pdf</a:t>
            </a:r>
            <a:r>
              <a:rPr lang="de-DE"/>
              <a:t> </a:t>
            </a:r>
            <a:endParaRPr lang="de-DE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78741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323F4F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216</TotalTime>
  <Words>5014</Words>
  <Application>Microsoft Office PowerPoint</Application>
  <PresentationFormat>Widescreen</PresentationFormat>
  <Paragraphs>1086</Paragraphs>
  <Slides>90</Slides>
  <Notes>19</Notes>
  <HiddenSlides>1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0</vt:i4>
      </vt:variant>
    </vt:vector>
  </HeadingPairs>
  <TitlesOfParts>
    <vt:vector size="98" baseType="lpstr">
      <vt:lpstr>Arial</vt:lpstr>
      <vt:lpstr>Calibri</vt:lpstr>
      <vt:lpstr>Calibri Light</vt:lpstr>
      <vt:lpstr>Comic Sans MS</vt:lpstr>
      <vt:lpstr>Courier New</vt:lpstr>
      <vt:lpstr>Lucida Handwriting</vt:lpstr>
      <vt:lpstr>Perpetua Titling MT</vt:lpstr>
      <vt:lpstr>Office Theme</vt:lpstr>
      <vt:lpstr>Confidentiality protection and physical safeguards</vt:lpstr>
      <vt:lpstr>confidentiality and access</vt:lpstr>
      <vt:lpstr>confidentiality of statistical agency data</vt:lpstr>
      <vt:lpstr>rich new analysis and publications</vt:lpstr>
      <vt:lpstr>Making data (more) accessible</vt:lpstr>
      <vt:lpstr>Making data (more) accessible</vt:lpstr>
      <vt:lpstr>Making data (more) accessible</vt:lpstr>
      <vt:lpstr>driven by advances in technology…</vt:lpstr>
      <vt:lpstr>professional associations</vt:lpstr>
      <vt:lpstr>driven by advances in technology</vt:lpstr>
      <vt:lpstr>driven by advances in technology</vt:lpstr>
      <vt:lpstr>researchers knocking on the door</vt:lpstr>
      <vt:lpstr>researcher access and privacy concerns</vt:lpstr>
      <vt:lpstr>my talk today</vt:lpstr>
      <vt:lpstr>focus</vt:lpstr>
      <vt:lpstr>context of my talk today</vt:lpstr>
      <vt:lpstr>some geographic limitation</vt:lpstr>
      <vt:lpstr>history again</vt:lpstr>
      <vt:lpstr>really brief history in the US</vt:lpstr>
      <vt:lpstr>other countries: Germany</vt:lpstr>
      <vt:lpstr>other countries: France</vt:lpstr>
      <vt:lpstr>mechanisms</vt:lpstr>
      <vt:lpstr>access methods</vt:lpstr>
      <vt:lpstr>access methods</vt:lpstr>
      <vt:lpstr>newer methods: Data Enclaves </vt:lpstr>
      <vt:lpstr>access methods: enclaves</vt:lpstr>
      <vt:lpstr>access methods: enclaves with researcher-controlled release</vt:lpstr>
      <vt:lpstr>access methods: enclaves with researcher-controlled release</vt:lpstr>
      <vt:lpstr>basic paradigm</vt:lpstr>
      <vt:lpstr>basic paradigm</vt:lpstr>
      <vt:lpstr>basic paradigm</vt:lpstr>
      <vt:lpstr>that spaceship thing…</vt:lpstr>
      <vt:lpstr>thin clients</vt:lpstr>
      <vt:lpstr>that box thing</vt:lpstr>
      <vt:lpstr>scalability (CASD)</vt:lpstr>
      <vt:lpstr>lessons to be learned?</vt:lpstr>
      <vt:lpstr>Access matrix for confidential data</vt:lpstr>
      <vt:lpstr>Access matrix for confidential data</vt:lpstr>
      <vt:lpstr>Access matrix for confidential data</vt:lpstr>
      <vt:lpstr>Access matrix for confidential data</vt:lpstr>
      <vt:lpstr>access methods: remote tabulation</vt:lpstr>
      <vt:lpstr>access methods: remote tabulation</vt:lpstr>
      <vt:lpstr>remote processing paradigm</vt:lpstr>
      <vt:lpstr>remote processing paradigm</vt:lpstr>
      <vt:lpstr>Access matrix for remote submission</vt:lpstr>
      <vt:lpstr>The ultimate remote submission</vt:lpstr>
      <vt:lpstr>remote access setup</vt:lpstr>
      <vt:lpstr>synthetic data and remote submission</vt:lpstr>
      <vt:lpstr>synthetic data: verification model</vt:lpstr>
      <vt:lpstr>synthetic data: validation model</vt:lpstr>
      <vt:lpstr>some results from Synthetic Data Server</vt:lpstr>
      <vt:lpstr>validation</vt:lpstr>
      <vt:lpstr>some results: SynLBD</vt:lpstr>
      <vt:lpstr>an illustrative example (Bertrand et al, 2015)</vt:lpstr>
      <vt:lpstr>some results: SSB</vt:lpstr>
      <vt:lpstr>synthetic data takeaways</vt:lpstr>
      <vt:lpstr>Access matrix for confidential data</vt:lpstr>
      <vt:lpstr>Access matrix for confidential data</vt:lpstr>
      <vt:lpstr>trust and access</vt:lpstr>
      <vt:lpstr>trust and access</vt:lpstr>
      <vt:lpstr>theory: culture</vt:lpstr>
      <vt:lpstr>penalties</vt:lpstr>
      <vt:lpstr>penalties</vt:lpstr>
      <vt:lpstr>penalties</vt:lpstr>
      <vt:lpstr>penalties</vt:lpstr>
      <vt:lpstr>training</vt:lpstr>
      <vt:lpstr>hidden element: how is Disclosure Avoidance done?</vt:lpstr>
      <vt:lpstr>hidden cost: how to train the users?</vt:lpstr>
      <vt:lpstr>results from a survey of FSRDC users</vt:lpstr>
      <vt:lpstr>FSRDC user experience: DA protocols</vt:lpstr>
      <vt:lpstr>FSRDC user experience training</vt:lpstr>
      <vt:lpstr>results from a survey of FSRDC users</vt:lpstr>
      <vt:lpstr>training content, method, and frequency</vt:lpstr>
      <vt:lpstr>Responsible Conduct of Research (RCR)</vt:lpstr>
      <vt:lpstr>French training</vt:lpstr>
      <vt:lpstr>CASD setup</vt:lpstr>
      <vt:lpstr>CASD setup</vt:lpstr>
      <vt:lpstr>CASD security</vt:lpstr>
      <vt:lpstr>conferences</vt:lpstr>
      <vt:lpstr>community</vt:lpstr>
      <vt:lpstr>community (cont.)</vt:lpstr>
      <vt:lpstr>training content, method, and frequency</vt:lpstr>
      <vt:lpstr>summary</vt:lpstr>
      <vt:lpstr>summary</vt:lpstr>
      <vt:lpstr>access and trust</vt:lpstr>
      <vt:lpstr>the ultimate achievement</vt:lpstr>
      <vt:lpstr>p.s. one last thing</vt:lpstr>
      <vt:lpstr>PowerPoint Presentation</vt:lpstr>
      <vt:lpstr>Thanks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fidentiality protection and physical safeguards</dc:title>
  <dc:creator>Lars Vilhuber</dc:creator>
  <cp:lastModifiedBy>Lars Vilhuber</cp:lastModifiedBy>
  <cp:revision>145</cp:revision>
  <dcterms:created xsi:type="dcterms:W3CDTF">2016-11-26T21:09:30Z</dcterms:created>
  <dcterms:modified xsi:type="dcterms:W3CDTF">2017-02-09T04:16:29Z</dcterms:modified>
</cp:coreProperties>
</file>